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4"/>
  </p:notesMasterIdLst>
  <p:sldIdLst>
    <p:sldId id="2146846968" r:id="rId5"/>
    <p:sldId id="2146847033" r:id="rId6"/>
    <p:sldId id="2146847026" r:id="rId7"/>
    <p:sldId id="2146847032" r:id="rId8"/>
    <p:sldId id="2146847031" r:id="rId9"/>
    <p:sldId id="2146847027" r:id="rId10"/>
    <p:sldId id="2146847028" r:id="rId11"/>
    <p:sldId id="2146847029" r:id="rId12"/>
    <p:sldId id="2146847030" r:id="rId13"/>
  </p:sldIdLst>
  <p:sldSz cx="9144000" cy="5143500" type="screen16x9"/>
  <p:notesSz cx="7010400" cy="92964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cesses Included" id="{9B20A65A-7D7F-49B9-852C-92EDAFC6EB87}">
          <p14:sldIdLst>
            <p14:sldId id="2146846968"/>
          </p14:sldIdLst>
        </p14:section>
        <p14:section name="Usage Rating" id="{197A5398-E587-4349-858D-A44D3392C86C}">
          <p14:sldIdLst>
            <p14:sldId id="2146847033"/>
            <p14:sldId id="2146847026"/>
            <p14:sldId id="2146847032"/>
            <p14:sldId id="2146847031"/>
            <p14:sldId id="2146847027"/>
            <p14:sldId id="2146847028"/>
            <p14:sldId id="2146847029"/>
            <p14:sldId id="21468470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noco, Jorge" initials="TJ" lastIdx="1" clrIdx="0">
    <p:extLst>
      <p:ext uri="{19B8F6BF-5375-455C-9EA6-DF929625EA0E}">
        <p15:presenceInfo xmlns:p15="http://schemas.microsoft.com/office/powerpoint/2012/main" userId="S::jorge.tinoco@centurylink.com::d627e25f-ba0e-46b5-bd6a-a7f20529962f" providerId="AD"/>
      </p:ext>
    </p:extLst>
  </p:cmAuthor>
  <p:cmAuthor id="2" name="Author" initials="A" lastIdx="2" clrIdx="1"/>
  <p:cmAuthor id="3" name="Trupp, Kaly" initials="TK" lastIdx="1" clrIdx="2">
    <p:extLst>
      <p:ext uri="{19B8F6BF-5375-455C-9EA6-DF929625EA0E}">
        <p15:presenceInfo xmlns:p15="http://schemas.microsoft.com/office/powerpoint/2012/main" userId="S::kaly.trupp@fticonsulting.com::d834d983-4509-4fa6-8398-41ae3cd2290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9AD5"/>
    <a:srgbClr val="0C9ED9"/>
    <a:srgbClr val="E6E6E6"/>
    <a:srgbClr val="0075C9"/>
    <a:srgbClr val="FF9E18"/>
    <a:srgbClr val="E77528"/>
    <a:srgbClr val="E1251B"/>
    <a:srgbClr val="38C6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816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cundo Kogan" userId="70c5344707c1e834" providerId="LiveId" clId="{52E14F87-E9BB-401E-85BB-A1C4B3D811D3}"/>
    <pc:docChg chg="delSld delSection modSection">
      <pc:chgData name="Facundo Kogan" userId="70c5344707c1e834" providerId="LiveId" clId="{52E14F87-E9BB-401E-85BB-A1C4B3D811D3}" dt="2021-11-04T12:41:34.376" v="11" actId="47"/>
      <pc:docMkLst>
        <pc:docMk/>
      </pc:docMkLst>
      <pc:sldChg chg="del">
        <pc:chgData name="Facundo Kogan" userId="70c5344707c1e834" providerId="LiveId" clId="{52E14F87-E9BB-401E-85BB-A1C4B3D811D3}" dt="2021-11-04T12:40:52.909" v="2" actId="47"/>
        <pc:sldMkLst>
          <pc:docMk/>
          <pc:sldMk cId="808897663" sldId="2146847010"/>
        </pc:sldMkLst>
      </pc:sldChg>
      <pc:sldChg chg="del">
        <pc:chgData name="Facundo Kogan" userId="70c5344707c1e834" providerId="LiveId" clId="{52E14F87-E9BB-401E-85BB-A1C4B3D811D3}" dt="2021-11-04T12:41:34.376" v="11" actId="47"/>
        <pc:sldMkLst>
          <pc:docMk/>
          <pc:sldMk cId="4126357513" sldId="2146847014"/>
        </pc:sldMkLst>
      </pc:sldChg>
      <pc:sldChg chg="del">
        <pc:chgData name="Facundo Kogan" userId="70c5344707c1e834" providerId="LiveId" clId="{52E14F87-E9BB-401E-85BB-A1C4B3D811D3}" dt="2021-11-04T12:40:54.376" v="3" actId="47"/>
        <pc:sldMkLst>
          <pc:docMk/>
          <pc:sldMk cId="572999359" sldId="2146847017"/>
        </pc:sldMkLst>
      </pc:sldChg>
      <pc:sldChg chg="del">
        <pc:chgData name="Facundo Kogan" userId="70c5344707c1e834" providerId="LiveId" clId="{52E14F87-E9BB-401E-85BB-A1C4B3D811D3}" dt="2021-11-04T12:40:55.599" v="4" actId="47"/>
        <pc:sldMkLst>
          <pc:docMk/>
          <pc:sldMk cId="57573393" sldId="2146847018"/>
        </pc:sldMkLst>
      </pc:sldChg>
      <pc:sldChg chg="del">
        <pc:chgData name="Facundo Kogan" userId="70c5344707c1e834" providerId="LiveId" clId="{52E14F87-E9BB-401E-85BB-A1C4B3D811D3}" dt="2021-11-04T12:40:56.540" v="5" actId="47"/>
        <pc:sldMkLst>
          <pc:docMk/>
          <pc:sldMk cId="1244883877" sldId="2146847019"/>
        </pc:sldMkLst>
      </pc:sldChg>
      <pc:sldChg chg="del">
        <pc:chgData name="Facundo Kogan" userId="70c5344707c1e834" providerId="LiveId" clId="{52E14F87-E9BB-401E-85BB-A1C4B3D811D3}" dt="2021-11-04T12:40:57.643" v="6" actId="47"/>
        <pc:sldMkLst>
          <pc:docMk/>
          <pc:sldMk cId="2108446057" sldId="2146847020"/>
        </pc:sldMkLst>
      </pc:sldChg>
      <pc:sldChg chg="del">
        <pc:chgData name="Facundo Kogan" userId="70c5344707c1e834" providerId="LiveId" clId="{52E14F87-E9BB-401E-85BB-A1C4B3D811D3}" dt="2021-11-04T12:40:48.026" v="1" actId="2696"/>
        <pc:sldMkLst>
          <pc:docMk/>
          <pc:sldMk cId="2276302315" sldId="2146847021"/>
        </pc:sldMkLst>
      </pc:sldChg>
      <pc:sldChg chg="del">
        <pc:chgData name="Facundo Kogan" userId="70c5344707c1e834" providerId="LiveId" clId="{52E14F87-E9BB-401E-85BB-A1C4B3D811D3}" dt="2021-11-04T12:40:58.492" v="7" actId="47"/>
        <pc:sldMkLst>
          <pc:docMk/>
          <pc:sldMk cId="4127413744" sldId="2146847022"/>
        </pc:sldMkLst>
      </pc:sldChg>
      <pc:sldChg chg="del">
        <pc:chgData name="Facundo Kogan" userId="70c5344707c1e834" providerId="LiveId" clId="{52E14F87-E9BB-401E-85BB-A1C4B3D811D3}" dt="2021-11-04T12:41:00.513" v="8" actId="47"/>
        <pc:sldMkLst>
          <pc:docMk/>
          <pc:sldMk cId="4029452828" sldId="2146847023"/>
        </pc:sldMkLst>
      </pc:sldChg>
      <pc:sldChg chg="del">
        <pc:chgData name="Facundo Kogan" userId="70c5344707c1e834" providerId="LiveId" clId="{52E14F87-E9BB-401E-85BB-A1C4B3D811D3}" dt="2021-11-04T12:41:01.137" v="9" actId="47"/>
        <pc:sldMkLst>
          <pc:docMk/>
          <pc:sldMk cId="1327027028" sldId="2146847024"/>
        </pc:sldMkLst>
      </pc:sldChg>
      <pc:sldChg chg="del">
        <pc:chgData name="Facundo Kogan" userId="70c5344707c1e834" providerId="LiveId" clId="{52E14F87-E9BB-401E-85BB-A1C4B3D811D3}" dt="2021-11-04T12:41:02.757" v="10" actId="47"/>
        <pc:sldMkLst>
          <pc:docMk/>
          <pc:sldMk cId="2638392573" sldId="2146847025"/>
        </pc:sldMkLst>
      </pc:sldChg>
    </pc:docChg>
  </pc:docChgLst>
  <pc:docChgLst>
    <pc:chgData name="Facundo Kogan" userId="70c5344707c1e834" providerId="LiveId" clId="{F7CF184C-4E9B-468E-A8F2-1B127AF5DF24}"/>
    <pc:docChg chg="undo custSel addSld modSld sldOrd addSection delSection modSection">
      <pc:chgData name="Facundo Kogan" userId="70c5344707c1e834" providerId="LiveId" clId="{F7CF184C-4E9B-468E-A8F2-1B127AF5DF24}" dt="2021-10-29T15:24:19.456" v="5106" actId="20577"/>
      <pc:docMkLst>
        <pc:docMk/>
      </pc:docMkLst>
      <pc:sldChg chg="modSp mod">
        <pc:chgData name="Facundo Kogan" userId="70c5344707c1e834" providerId="LiveId" clId="{F7CF184C-4E9B-468E-A8F2-1B127AF5DF24}" dt="2021-10-29T12:56:34.811" v="3315" actId="403"/>
        <pc:sldMkLst>
          <pc:docMk/>
          <pc:sldMk cId="511105145" sldId="2146846968"/>
        </pc:sldMkLst>
        <pc:spChg chg="mod">
          <ac:chgData name="Facundo Kogan" userId="70c5344707c1e834" providerId="LiveId" clId="{F7CF184C-4E9B-468E-A8F2-1B127AF5DF24}" dt="2021-10-29T12:56:34.811" v="3315" actId="403"/>
          <ac:spMkLst>
            <pc:docMk/>
            <pc:sldMk cId="511105145" sldId="2146846968"/>
            <ac:spMk id="5" creationId="{36BF9477-91F2-4E12-A14F-B6CA9178CA6C}"/>
          </ac:spMkLst>
        </pc:spChg>
      </pc:sldChg>
      <pc:sldChg chg="modSp mod">
        <pc:chgData name="Facundo Kogan" userId="70c5344707c1e834" providerId="LiveId" clId="{F7CF184C-4E9B-468E-A8F2-1B127AF5DF24}" dt="2021-10-29T14:10:38.184" v="3367" actId="27636"/>
        <pc:sldMkLst>
          <pc:docMk/>
          <pc:sldMk cId="4126357513" sldId="2146847014"/>
        </pc:sldMkLst>
        <pc:spChg chg="mod">
          <ac:chgData name="Facundo Kogan" userId="70c5344707c1e834" providerId="LiveId" clId="{F7CF184C-4E9B-468E-A8F2-1B127AF5DF24}" dt="2021-10-29T14:10:38.184" v="3367" actId="27636"/>
          <ac:spMkLst>
            <pc:docMk/>
            <pc:sldMk cId="4126357513" sldId="2146847014"/>
            <ac:spMk id="3" creationId="{E70D7511-F6AE-4135-8713-5FAE8197D4A0}"/>
          </ac:spMkLst>
        </pc:spChg>
      </pc:sldChg>
      <pc:sldChg chg="modSp mod">
        <pc:chgData name="Facundo Kogan" userId="70c5344707c1e834" providerId="LiveId" clId="{F7CF184C-4E9B-468E-A8F2-1B127AF5DF24}" dt="2021-10-29T10:53:23.632" v="96" actId="20577"/>
        <pc:sldMkLst>
          <pc:docMk/>
          <pc:sldMk cId="2276302315" sldId="2146847021"/>
        </pc:sldMkLst>
        <pc:spChg chg="mod">
          <ac:chgData name="Facundo Kogan" userId="70c5344707c1e834" providerId="LiveId" clId="{F7CF184C-4E9B-468E-A8F2-1B127AF5DF24}" dt="2021-10-29T10:53:23.632" v="96" actId="20577"/>
          <ac:spMkLst>
            <pc:docMk/>
            <pc:sldMk cId="2276302315" sldId="2146847021"/>
            <ac:spMk id="36" creationId="{7EB8E24B-452C-487B-B03F-2D570E305C2D}"/>
          </ac:spMkLst>
        </pc:spChg>
      </pc:sldChg>
      <pc:sldChg chg="modSp add mod">
        <pc:chgData name="Facundo Kogan" userId="70c5344707c1e834" providerId="LiveId" clId="{F7CF184C-4E9B-468E-A8F2-1B127AF5DF24}" dt="2021-10-29T12:39:48.444" v="3272" actId="20577"/>
        <pc:sldMkLst>
          <pc:docMk/>
          <pc:sldMk cId="462354436" sldId="2146847026"/>
        </pc:sldMkLst>
        <pc:spChg chg="mod">
          <ac:chgData name="Facundo Kogan" userId="70c5344707c1e834" providerId="LiveId" clId="{F7CF184C-4E9B-468E-A8F2-1B127AF5DF24}" dt="2021-10-29T12:25:25.806" v="3105" actId="1035"/>
          <ac:spMkLst>
            <pc:docMk/>
            <pc:sldMk cId="462354436" sldId="2146847026"/>
            <ac:spMk id="15" creationId="{42AD3635-6B1E-4D90-B610-6361BEFB04EA}"/>
          </ac:spMkLst>
        </pc:spChg>
        <pc:spChg chg="mod">
          <ac:chgData name="Facundo Kogan" userId="70c5344707c1e834" providerId="LiveId" clId="{F7CF184C-4E9B-468E-A8F2-1B127AF5DF24}" dt="2021-10-29T12:14:49.107" v="2844" actId="20577"/>
          <ac:spMkLst>
            <pc:docMk/>
            <pc:sldMk cId="462354436" sldId="2146847026"/>
            <ac:spMk id="36" creationId="{7EB8E24B-452C-487B-B03F-2D570E305C2D}"/>
          </ac:spMkLst>
        </pc:spChg>
        <pc:spChg chg="mod">
          <ac:chgData name="Facundo Kogan" userId="70c5344707c1e834" providerId="LiveId" clId="{F7CF184C-4E9B-468E-A8F2-1B127AF5DF24}" dt="2021-10-29T12:39:48.444" v="3272" actId="20577"/>
          <ac:spMkLst>
            <pc:docMk/>
            <pc:sldMk cId="462354436" sldId="2146847026"/>
            <ac:spMk id="41" creationId="{59EA9267-942B-4D68-9FA9-49087C4A5F12}"/>
          </ac:spMkLst>
        </pc:spChg>
        <pc:spChg chg="mod">
          <ac:chgData name="Facundo Kogan" userId="70c5344707c1e834" providerId="LiveId" clId="{F7CF184C-4E9B-468E-A8F2-1B127AF5DF24}" dt="2021-10-29T11:44:37.946" v="2260" actId="113"/>
          <ac:spMkLst>
            <pc:docMk/>
            <pc:sldMk cId="462354436" sldId="2146847026"/>
            <ac:spMk id="42" creationId="{A327B052-FFDA-4917-A229-F34C2748DFC6}"/>
          </ac:spMkLst>
        </pc:spChg>
        <pc:spChg chg="mod">
          <ac:chgData name="Facundo Kogan" userId="70c5344707c1e834" providerId="LiveId" clId="{F7CF184C-4E9B-468E-A8F2-1B127AF5DF24}" dt="2021-10-29T12:25:09.270" v="3097" actId="1035"/>
          <ac:spMkLst>
            <pc:docMk/>
            <pc:sldMk cId="462354436" sldId="2146847026"/>
            <ac:spMk id="51" creationId="{C8F965E4-C46B-40E5-934E-AACE00FCDF28}"/>
          </ac:spMkLst>
        </pc:spChg>
        <pc:spChg chg="mod">
          <ac:chgData name="Facundo Kogan" userId="70c5344707c1e834" providerId="LiveId" clId="{F7CF184C-4E9B-468E-A8F2-1B127AF5DF24}" dt="2021-10-29T12:25:19.470" v="3103" actId="1036"/>
          <ac:spMkLst>
            <pc:docMk/>
            <pc:sldMk cId="462354436" sldId="2146847026"/>
            <ac:spMk id="64" creationId="{D9DD3F04-C842-45A8-A4A1-507C69EFADF2}"/>
          </ac:spMkLst>
        </pc:spChg>
      </pc:sldChg>
      <pc:sldChg chg="modSp add mod">
        <pc:chgData name="Facundo Kogan" userId="70c5344707c1e834" providerId="LiveId" clId="{F7CF184C-4E9B-468E-A8F2-1B127AF5DF24}" dt="2021-10-29T12:26:36.214" v="3151" actId="1035"/>
        <pc:sldMkLst>
          <pc:docMk/>
          <pc:sldMk cId="3052799985" sldId="2146847027"/>
        </pc:sldMkLst>
        <pc:spChg chg="mod">
          <ac:chgData name="Facundo Kogan" userId="70c5344707c1e834" providerId="LiveId" clId="{F7CF184C-4E9B-468E-A8F2-1B127AF5DF24}" dt="2021-10-29T11:47:43.322" v="2287" actId="20577"/>
          <ac:spMkLst>
            <pc:docMk/>
            <pc:sldMk cId="3052799985" sldId="2146847027"/>
            <ac:spMk id="15" creationId="{42AD3635-6B1E-4D90-B610-6361BEFB04EA}"/>
          </ac:spMkLst>
        </pc:spChg>
        <pc:spChg chg="mod">
          <ac:chgData name="Facundo Kogan" userId="70c5344707c1e834" providerId="LiveId" clId="{F7CF184C-4E9B-468E-A8F2-1B127AF5DF24}" dt="2021-10-29T11:45:20.228" v="2262"/>
          <ac:spMkLst>
            <pc:docMk/>
            <pc:sldMk cId="3052799985" sldId="2146847027"/>
            <ac:spMk id="36" creationId="{7EB8E24B-452C-487B-B03F-2D570E305C2D}"/>
          </ac:spMkLst>
        </pc:spChg>
        <pc:spChg chg="mod">
          <ac:chgData name="Facundo Kogan" userId="70c5344707c1e834" providerId="LiveId" clId="{F7CF184C-4E9B-468E-A8F2-1B127AF5DF24}" dt="2021-10-29T11:56:27.284" v="2411" actId="20577"/>
          <ac:spMkLst>
            <pc:docMk/>
            <pc:sldMk cId="3052799985" sldId="2146847027"/>
            <ac:spMk id="51" creationId="{C8F965E4-C46B-40E5-934E-AACE00FCDF28}"/>
          </ac:spMkLst>
        </pc:spChg>
        <pc:spChg chg="mod">
          <ac:chgData name="Facundo Kogan" userId="70c5344707c1e834" providerId="LiveId" clId="{F7CF184C-4E9B-468E-A8F2-1B127AF5DF24}" dt="2021-10-29T12:26:36.214" v="3151" actId="1035"/>
          <ac:spMkLst>
            <pc:docMk/>
            <pc:sldMk cId="3052799985" sldId="2146847027"/>
            <ac:spMk id="64" creationId="{D9DD3F04-C842-45A8-A4A1-507C69EFADF2}"/>
          </ac:spMkLst>
        </pc:spChg>
      </pc:sldChg>
      <pc:sldChg chg="modSp add mod">
        <pc:chgData name="Facundo Kogan" userId="70c5344707c1e834" providerId="LiveId" clId="{F7CF184C-4E9B-468E-A8F2-1B127AF5DF24}" dt="2021-10-29T12:41:19.028" v="3300" actId="1035"/>
        <pc:sldMkLst>
          <pc:docMk/>
          <pc:sldMk cId="2706770739" sldId="2146847028"/>
        </pc:sldMkLst>
        <pc:spChg chg="mod">
          <ac:chgData name="Facundo Kogan" userId="70c5344707c1e834" providerId="LiveId" clId="{F7CF184C-4E9B-468E-A8F2-1B127AF5DF24}" dt="2021-10-29T12:41:08.550" v="3297" actId="1037"/>
          <ac:spMkLst>
            <pc:docMk/>
            <pc:sldMk cId="2706770739" sldId="2146847028"/>
            <ac:spMk id="15" creationId="{42AD3635-6B1E-4D90-B610-6361BEFB04EA}"/>
          </ac:spMkLst>
        </pc:spChg>
        <pc:spChg chg="mod">
          <ac:chgData name="Facundo Kogan" userId="70c5344707c1e834" providerId="LiveId" clId="{F7CF184C-4E9B-468E-A8F2-1B127AF5DF24}" dt="2021-10-29T11:50:18.149" v="2302" actId="20577"/>
          <ac:spMkLst>
            <pc:docMk/>
            <pc:sldMk cId="2706770739" sldId="2146847028"/>
            <ac:spMk id="36" creationId="{7EB8E24B-452C-487B-B03F-2D570E305C2D}"/>
          </ac:spMkLst>
        </pc:spChg>
        <pc:spChg chg="mod">
          <ac:chgData name="Facundo Kogan" userId="70c5344707c1e834" providerId="LiveId" clId="{F7CF184C-4E9B-468E-A8F2-1B127AF5DF24}" dt="2021-10-29T12:11:23.363" v="2822" actId="20577"/>
          <ac:spMkLst>
            <pc:docMk/>
            <pc:sldMk cId="2706770739" sldId="2146847028"/>
            <ac:spMk id="41" creationId="{59EA9267-942B-4D68-9FA9-49087C4A5F12}"/>
          </ac:spMkLst>
        </pc:spChg>
        <pc:spChg chg="mod">
          <ac:chgData name="Facundo Kogan" userId="70c5344707c1e834" providerId="LiveId" clId="{F7CF184C-4E9B-468E-A8F2-1B127AF5DF24}" dt="2021-10-29T12:41:12.982" v="3298" actId="1035"/>
          <ac:spMkLst>
            <pc:docMk/>
            <pc:sldMk cId="2706770739" sldId="2146847028"/>
            <ac:spMk id="42" creationId="{A327B052-FFDA-4917-A229-F34C2748DFC6}"/>
          </ac:spMkLst>
        </pc:spChg>
        <pc:spChg chg="mod">
          <ac:chgData name="Facundo Kogan" userId="70c5344707c1e834" providerId="LiveId" clId="{F7CF184C-4E9B-468E-A8F2-1B127AF5DF24}" dt="2021-10-29T12:41:19.028" v="3300" actId="1035"/>
          <ac:spMkLst>
            <pc:docMk/>
            <pc:sldMk cId="2706770739" sldId="2146847028"/>
            <ac:spMk id="51" creationId="{C8F965E4-C46B-40E5-934E-AACE00FCDF28}"/>
          </ac:spMkLst>
        </pc:spChg>
        <pc:spChg chg="mod">
          <ac:chgData name="Facundo Kogan" userId="70c5344707c1e834" providerId="LiveId" clId="{F7CF184C-4E9B-468E-A8F2-1B127AF5DF24}" dt="2021-10-29T12:40:41.974" v="3292" actId="1038"/>
          <ac:spMkLst>
            <pc:docMk/>
            <pc:sldMk cId="2706770739" sldId="2146847028"/>
            <ac:spMk id="64" creationId="{D9DD3F04-C842-45A8-A4A1-507C69EFADF2}"/>
          </ac:spMkLst>
        </pc:spChg>
      </pc:sldChg>
      <pc:sldChg chg="modSp add mod">
        <pc:chgData name="Facundo Kogan" userId="70c5344707c1e834" providerId="LiveId" clId="{F7CF184C-4E9B-468E-A8F2-1B127AF5DF24}" dt="2021-10-29T12:00:41.108" v="2545" actId="20577"/>
        <pc:sldMkLst>
          <pc:docMk/>
          <pc:sldMk cId="400563164" sldId="2146847029"/>
        </pc:sldMkLst>
        <pc:spChg chg="mod">
          <ac:chgData name="Facundo Kogan" userId="70c5344707c1e834" providerId="LiveId" clId="{F7CF184C-4E9B-468E-A8F2-1B127AF5DF24}" dt="2021-10-29T11:55:32.691" v="2406" actId="20577"/>
          <ac:spMkLst>
            <pc:docMk/>
            <pc:sldMk cId="400563164" sldId="2146847029"/>
            <ac:spMk id="15" creationId="{42AD3635-6B1E-4D90-B610-6361BEFB04EA}"/>
          </ac:spMkLst>
        </pc:spChg>
        <pc:spChg chg="mod">
          <ac:chgData name="Facundo Kogan" userId="70c5344707c1e834" providerId="LiveId" clId="{F7CF184C-4E9B-468E-A8F2-1B127AF5DF24}" dt="2021-10-29T11:50:33.703" v="2306" actId="20577"/>
          <ac:spMkLst>
            <pc:docMk/>
            <pc:sldMk cId="400563164" sldId="2146847029"/>
            <ac:spMk id="36" creationId="{7EB8E24B-452C-487B-B03F-2D570E305C2D}"/>
          </ac:spMkLst>
        </pc:spChg>
        <pc:spChg chg="mod">
          <ac:chgData name="Facundo Kogan" userId="70c5344707c1e834" providerId="LiveId" clId="{F7CF184C-4E9B-468E-A8F2-1B127AF5DF24}" dt="2021-10-29T11:59:14.545" v="2502" actId="20577"/>
          <ac:spMkLst>
            <pc:docMk/>
            <pc:sldMk cId="400563164" sldId="2146847029"/>
            <ac:spMk id="51" creationId="{C8F965E4-C46B-40E5-934E-AACE00FCDF28}"/>
          </ac:spMkLst>
        </pc:spChg>
        <pc:spChg chg="mod">
          <ac:chgData name="Facundo Kogan" userId="70c5344707c1e834" providerId="LiveId" clId="{F7CF184C-4E9B-468E-A8F2-1B127AF5DF24}" dt="2021-10-29T12:00:41.108" v="2545" actId="20577"/>
          <ac:spMkLst>
            <pc:docMk/>
            <pc:sldMk cId="400563164" sldId="2146847029"/>
            <ac:spMk id="64" creationId="{D9DD3F04-C842-45A8-A4A1-507C69EFADF2}"/>
          </ac:spMkLst>
        </pc:spChg>
      </pc:sldChg>
      <pc:sldChg chg="modSp add mod">
        <pc:chgData name="Facundo Kogan" userId="70c5344707c1e834" providerId="LiveId" clId="{F7CF184C-4E9B-468E-A8F2-1B127AF5DF24}" dt="2021-10-29T12:01:32.454" v="2551" actId="20577"/>
        <pc:sldMkLst>
          <pc:docMk/>
          <pc:sldMk cId="3868647076" sldId="2146847030"/>
        </pc:sldMkLst>
        <pc:spChg chg="mod">
          <ac:chgData name="Facundo Kogan" userId="70c5344707c1e834" providerId="LiveId" clId="{F7CF184C-4E9B-468E-A8F2-1B127AF5DF24}" dt="2021-10-29T12:01:32.454" v="2551" actId="20577"/>
          <ac:spMkLst>
            <pc:docMk/>
            <pc:sldMk cId="3868647076" sldId="2146847030"/>
            <ac:spMk id="15" creationId="{42AD3635-6B1E-4D90-B610-6361BEFB04EA}"/>
          </ac:spMkLst>
        </pc:spChg>
        <pc:spChg chg="mod">
          <ac:chgData name="Facundo Kogan" userId="70c5344707c1e834" providerId="LiveId" clId="{F7CF184C-4E9B-468E-A8F2-1B127AF5DF24}" dt="2021-10-29T11:50:41.499" v="2310" actId="20577"/>
          <ac:spMkLst>
            <pc:docMk/>
            <pc:sldMk cId="3868647076" sldId="2146847030"/>
            <ac:spMk id="36" creationId="{7EB8E24B-452C-487B-B03F-2D570E305C2D}"/>
          </ac:spMkLst>
        </pc:spChg>
        <pc:spChg chg="mod">
          <ac:chgData name="Facundo Kogan" userId="70c5344707c1e834" providerId="LiveId" clId="{F7CF184C-4E9B-468E-A8F2-1B127AF5DF24}" dt="2021-10-29T11:59:28.676" v="2511" actId="20577"/>
          <ac:spMkLst>
            <pc:docMk/>
            <pc:sldMk cId="3868647076" sldId="2146847030"/>
            <ac:spMk id="51" creationId="{C8F965E4-C46B-40E5-934E-AACE00FCDF28}"/>
          </ac:spMkLst>
        </pc:spChg>
        <pc:spChg chg="mod">
          <ac:chgData name="Facundo Kogan" userId="70c5344707c1e834" providerId="LiveId" clId="{F7CF184C-4E9B-468E-A8F2-1B127AF5DF24}" dt="2021-10-29T12:00:27.335" v="2540" actId="20577"/>
          <ac:spMkLst>
            <pc:docMk/>
            <pc:sldMk cId="3868647076" sldId="2146847030"/>
            <ac:spMk id="64" creationId="{D9DD3F04-C842-45A8-A4A1-507C69EFADF2}"/>
          </ac:spMkLst>
        </pc:spChg>
      </pc:sldChg>
      <pc:sldChg chg="modSp add mod">
        <pc:chgData name="Facundo Kogan" userId="70c5344707c1e834" providerId="LiveId" clId="{F7CF184C-4E9B-468E-A8F2-1B127AF5DF24}" dt="2021-10-29T12:40:00.096" v="3284" actId="20577"/>
        <pc:sldMkLst>
          <pc:docMk/>
          <pc:sldMk cId="539833015" sldId="2146847031"/>
        </pc:sldMkLst>
        <pc:spChg chg="mod">
          <ac:chgData name="Facundo Kogan" userId="70c5344707c1e834" providerId="LiveId" clId="{F7CF184C-4E9B-468E-A8F2-1B127AF5DF24}" dt="2021-10-29T12:16:20.813" v="2909" actId="20577"/>
          <ac:spMkLst>
            <pc:docMk/>
            <pc:sldMk cId="539833015" sldId="2146847031"/>
            <ac:spMk id="15" creationId="{42AD3635-6B1E-4D90-B610-6361BEFB04EA}"/>
          </ac:spMkLst>
        </pc:spChg>
        <pc:spChg chg="mod">
          <ac:chgData name="Facundo Kogan" userId="70c5344707c1e834" providerId="LiveId" clId="{F7CF184C-4E9B-468E-A8F2-1B127AF5DF24}" dt="2021-10-29T12:15:42.116" v="2865" actId="20577"/>
          <ac:spMkLst>
            <pc:docMk/>
            <pc:sldMk cId="539833015" sldId="2146847031"/>
            <ac:spMk id="36" creationId="{7EB8E24B-452C-487B-B03F-2D570E305C2D}"/>
          </ac:spMkLst>
        </pc:spChg>
        <pc:spChg chg="mod">
          <ac:chgData name="Facundo Kogan" userId="70c5344707c1e834" providerId="LiveId" clId="{F7CF184C-4E9B-468E-A8F2-1B127AF5DF24}" dt="2021-10-29T12:40:00.096" v="3284" actId="20577"/>
          <ac:spMkLst>
            <pc:docMk/>
            <pc:sldMk cId="539833015" sldId="2146847031"/>
            <ac:spMk id="41" creationId="{59EA9267-942B-4D68-9FA9-49087C4A5F12}"/>
          </ac:spMkLst>
        </pc:spChg>
        <pc:spChg chg="mod">
          <ac:chgData name="Facundo Kogan" userId="70c5344707c1e834" providerId="LiveId" clId="{F7CF184C-4E9B-468E-A8F2-1B127AF5DF24}" dt="2021-10-29T12:22:51.104" v="3047" actId="20577"/>
          <ac:spMkLst>
            <pc:docMk/>
            <pc:sldMk cId="539833015" sldId="2146847031"/>
            <ac:spMk id="42" creationId="{A327B052-FFDA-4917-A229-F34C2748DFC6}"/>
          </ac:spMkLst>
        </pc:spChg>
        <pc:spChg chg="mod">
          <ac:chgData name="Facundo Kogan" userId="70c5344707c1e834" providerId="LiveId" clId="{F7CF184C-4E9B-468E-A8F2-1B127AF5DF24}" dt="2021-10-29T12:16:26.506" v="2911" actId="6549"/>
          <ac:spMkLst>
            <pc:docMk/>
            <pc:sldMk cId="539833015" sldId="2146847031"/>
            <ac:spMk id="51" creationId="{C8F965E4-C46B-40E5-934E-AACE00FCDF28}"/>
          </ac:spMkLst>
        </pc:spChg>
        <pc:spChg chg="mod">
          <ac:chgData name="Facundo Kogan" userId="70c5344707c1e834" providerId="LiveId" clId="{F7CF184C-4E9B-468E-A8F2-1B127AF5DF24}" dt="2021-10-29T12:26:42.350" v="3158" actId="1035"/>
          <ac:spMkLst>
            <pc:docMk/>
            <pc:sldMk cId="539833015" sldId="2146847031"/>
            <ac:spMk id="64" creationId="{D9DD3F04-C842-45A8-A4A1-507C69EFADF2}"/>
          </ac:spMkLst>
        </pc:spChg>
      </pc:sldChg>
      <pc:sldChg chg="modSp add mod">
        <pc:chgData name="Facundo Kogan" userId="70c5344707c1e834" providerId="LiveId" clId="{F7CF184C-4E9B-468E-A8F2-1B127AF5DF24}" dt="2021-10-29T15:00:22.257" v="4477" actId="20577"/>
        <pc:sldMkLst>
          <pc:docMk/>
          <pc:sldMk cId="1558261070" sldId="2146847032"/>
        </pc:sldMkLst>
        <pc:spChg chg="mod">
          <ac:chgData name="Facundo Kogan" userId="70c5344707c1e834" providerId="LiveId" clId="{F7CF184C-4E9B-468E-A8F2-1B127AF5DF24}" dt="2021-10-29T15:00:22.257" v="4477" actId="20577"/>
          <ac:spMkLst>
            <pc:docMk/>
            <pc:sldMk cId="1558261070" sldId="2146847032"/>
            <ac:spMk id="15" creationId="{42AD3635-6B1E-4D90-B610-6361BEFB04EA}"/>
          </ac:spMkLst>
        </pc:spChg>
        <pc:spChg chg="mod">
          <ac:chgData name="Facundo Kogan" userId="70c5344707c1e834" providerId="LiveId" clId="{F7CF184C-4E9B-468E-A8F2-1B127AF5DF24}" dt="2021-10-29T12:18:21.407" v="2927" actId="20577"/>
          <ac:spMkLst>
            <pc:docMk/>
            <pc:sldMk cId="1558261070" sldId="2146847032"/>
            <ac:spMk id="36" creationId="{7EB8E24B-452C-487B-B03F-2D570E305C2D}"/>
          </ac:spMkLst>
        </pc:spChg>
        <pc:spChg chg="mod">
          <ac:chgData name="Facundo Kogan" userId="70c5344707c1e834" providerId="LiveId" clId="{F7CF184C-4E9B-468E-A8F2-1B127AF5DF24}" dt="2021-10-29T12:39:53.185" v="3278" actId="20577"/>
          <ac:spMkLst>
            <pc:docMk/>
            <pc:sldMk cId="1558261070" sldId="2146847032"/>
            <ac:spMk id="41" creationId="{59EA9267-942B-4D68-9FA9-49087C4A5F12}"/>
          </ac:spMkLst>
        </pc:spChg>
        <pc:spChg chg="mod">
          <ac:chgData name="Facundo Kogan" userId="70c5344707c1e834" providerId="LiveId" clId="{F7CF184C-4E9B-468E-A8F2-1B127AF5DF24}" dt="2021-10-29T12:41:46.809" v="3303" actId="14100"/>
          <ac:spMkLst>
            <pc:docMk/>
            <pc:sldMk cId="1558261070" sldId="2146847032"/>
            <ac:spMk id="42" creationId="{A327B052-FFDA-4917-A229-F34C2748DFC6}"/>
          </ac:spMkLst>
        </pc:spChg>
        <pc:spChg chg="mod">
          <ac:chgData name="Facundo Kogan" userId="70c5344707c1e834" providerId="LiveId" clId="{F7CF184C-4E9B-468E-A8F2-1B127AF5DF24}" dt="2021-10-29T12:41:50.289" v="3304" actId="14100"/>
          <ac:spMkLst>
            <pc:docMk/>
            <pc:sldMk cId="1558261070" sldId="2146847032"/>
            <ac:spMk id="51" creationId="{C8F965E4-C46B-40E5-934E-AACE00FCDF28}"/>
          </ac:spMkLst>
        </pc:spChg>
        <pc:spChg chg="mod">
          <ac:chgData name="Facundo Kogan" userId="70c5344707c1e834" providerId="LiveId" clId="{F7CF184C-4E9B-468E-A8F2-1B127AF5DF24}" dt="2021-10-29T12:25:54.881" v="3128" actId="20577"/>
          <ac:spMkLst>
            <pc:docMk/>
            <pc:sldMk cId="1558261070" sldId="2146847032"/>
            <ac:spMk id="64" creationId="{D9DD3F04-C842-45A8-A4A1-507C69EFADF2}"/>
          </ac:spMkLst>
        </pc:spChg>
      </pc:sldChg>
      <pc:sldChg chg="addSp delSp modSp add mod ord">
        <pc:chgData name="Facundo Kogan" userId="70c5344707c1e834" providerId="LiveId" clId="{F7CF184C-4E9B-468E-A8F2-1B127AF5DF24}" dt="2021-10-29T15:24:19.456" v="5106" actId="20577"/>
        <pc:sldMkLst>
          <pc:docMk/>
          <pc:sldMk cId="2043364596" sldId="2146847033"/>
        </pc:sldMkLst>
        <pc:spChg chg="add del mod">
          <ac:chgData name="Facundo Kogan" userId="70c5344707c1e834" providerId="LiveId" clId="{F7CF184C-4E9B-468E-A8F2-1B127AF5DF24}" dt="2021-10-29T14:30:18.547" v="3456" actId="478"/>
          <ac:spMkLst>
            <pc:docMk/>
            <pc:sldMk cId="2043364596" sldId="2146847033"/>
            <ac:spMk id="10" creationId="{D213B05D-E77A-49F6-B628-82CD87C73EBF}"/>
          </ac:spMkLst>
        </pc:spChg>
        <pc:spChg chg="add mod">
          <ac:chgData name="Facundo Kogan" userId="70c5344707c1e834" providerId="LiveId" clId="{F7CF184C-4E9B-468E-A8F2-1B127AF5DF24}" dt="2021-10-29T15:09:41.688" v="4612" actId="1038"/>
          <ac:spMkLst>
            <pc:docMk/>
            <pc:sldMk cId="2043364596" sldId="2146847033"/>
            <ac:spMk id="11" creationId="{E2BA626C-FFB6-4302-A74C-6CD4A38CB100}"/>
          </ac:spMkLst>
        </pc:spChg>
        <pc:spChg chg="mod">
          <ac:chgData name="Facundo Kogan" userId="70c5344707c1e834" providerId="LiveId" clId="{F7CF184C-4E9B-468E-A8F2-1B127AF5DF24}" dt="2021-10-29T15:21:53.108" v="5006" actId="20577"/>
          <ac:spMkLst>
            <pc:docMk/>
            <pc:sldMk cId="2043364596" sldId="2146847033"/>
            <ac:spMk id="15" creationId="{42AD3635-6B1E-4D90-B610-6361BEFB04EA}"/>
          </ac:spMkLst>
        </pc:spChg>
        <pc:spChg chg="mod ord">
          <ac:chgData name="Facundo Kogan" userId="70c5344707c1e834" providerId="LiveId" clId="{F7CF184C-4E9B-468E-A8F2-1B127AF5DF24}" dt="2021-10-29T15:03:03.174" v="4545" actId="164"/>
          <ac:spMkLst>
            <pc:docMk/>
            <pc:sldMk cId="2043364596" sldId="2146847033"/>
            <ac:spMk id="16" creationId="{DD728B08-679C-495A-ABE7-BAE0FFA54EF0}"/>
          </ac:spMkLst>
        </pc:spChg>
        <pc:spChg chg="del mod">
          <ac:chgData name="Facundo Kogan" userId="70c5344707c1e834" providerId="LiveId" clId="{F7CF184C-4E9B-468E-A8F2-1B127AF5DF24}" dt="2021-10-29T14:52:19.854" v="4354" actId="478"/>
          <ac:spMkLst>
            <pc:docMk/>
            <pc:sldMk cId="2043364596" sldId="2146847033"/>
            <ac:spMk id="17" creationId="{6A8298CC-5E2E-4BAA-82D5-43D06129DD3C}"/>
          </ac:spMkLst>
        </pc:spChg>
        <pc:spChg chg="mod">
          <ac:chgData name="Facundo Kogan" userId="70c5344707c1e834" providerId="LiveId" clId="{F7CF184C-4E9B-468E-A8F2-1B127AF5DF24}" dt="2021-10-29T15:03:03.174" v="4545" actId="164"/>
          <ac:spMkLst>
            <pc:docMk/>
            <pc:sldMk cId="2043364596" sldId="2146847033"/>
            <ac:spMk id="18" creationId="{51FC0D4B-86C5-47BE-988B-FBF421817AF9}"/>
          </ac:spMkLst>
        </pc:spChg>
        <pc:spChg chg="mod">
          <ac:chgData name="Facundo Kogan" userId="70c5344707c1e834" providerId="LiveId" clId="{F7CF184C-4E9B-468E-A8F2-1B127AF5DF24}" dt="2021-10-29T15:03:15.206" v="4548" actId="14100"/>
          <ac:spMkLst>
            <pc:docMk/>
            <pc:sldMk cId="2043364596" sldId="2146847033"/>
            <ac:spMk id="19" creationId="{7204297A-D14C-4107-BB0A-E75555FCC428}"/>
          </ac:spMkLst>
        </pc:spChg>
        <pc:spChg chg="mod">
          <ac:chgData name="Facundo Kogan" userId="70c5344707c1e834" providerId="LiveId" clId="{F7CF184C-4E9B-468E-A8F2-1B127AF5DF24}" dt="2021-10-29T15:03:03.174" v="4545" actId="164"/>
          <ac:spMkLst>
            <pc:docMk/>
            <pc:sldMk cId="2043364596" sldId="2146847033"/>
            <ac:spMk id="22" creationId="{26504CF4-20F7-4B5D-ABF7-AF170C5E95F0}"/>
          </ac:spMkLst>
        </pc:spChg>
        <pc:spChg chg="mod">
          <ac:chgData name="Facundo Kogan" userId="70c5344707c1e834" providerId="LiveId" clId="{F7CF184C-4E9B-468E-A8F2-1B127AF5DF24}" dt="2021-10-29T15:03:03.174" v="4545" actId="164"/>
          <ac:spMkLst>
            <pc:docMk/>
            <pc:sldMk cId="2043364596" sldId="2146847033"/>
            <ac:spMk id="23" creationId="{DCAB17E9-0817-4B73-94C4-473BD3F41B69}"/>
          </ac:spMkLst>
        </pc:spChg>
        <pc:spChg chg="add del mod">
          <ac:chgData name="Facundo Kogan" userId="70c5344707c1e834" providerId="LiveId" clId="{F7CF184C-4E9B-468E-A8F2-1B127AF5DF24}" dt="2021-10-29T14:36:18.766" v="3523" actId="478"/>
          <ac:spMkLst>
            <pc:docMk/>
            <pc:sldMk cId="2043364596" sldId="2146847033"/>
            <ac:spMk id="30" creationId="{C5276907-3228-42F4-9981-BBB276C0FEF9}"/>
          </ac:spMkLst>
        </pc:spChg>
        <pc:spChg chg="mod">
          <ac:chgData name="Facundo Kogan" userId="70c5344707c1e834" providerId="LiveId" clId="{F7CF184C-4E9B-468E-A8F2-1B127AF5DF24}" dt="2021-10-29T15:24:19.456" v="5106" actId="20577"/>
          <ac:spMkLst>
            <pc:docMk/>
            <pc:sldMk cId="2043364596" sldId="2146847033"/>
            <ac:spMk id="36" creationId="{7EB8E24B-452C-487B-B03F-2D570E305C2D}"/>
          </ac:spMkLst>
        </pc:spChg>
        <pc:spChg chg="mod">
          <ac:chgData name="Facundo Kogan" userId="70c5344707c1e834" providerId="LiveId" clId="{F7CF184C-4E9B-468E-A8F2-1B127AF5DF24}" dt="2021-10-29T15:05:30.012" v="4564" actId="6549"/>
          <ac:spMkLst>
            <pc:docMk/>
            <pc:sldMk cId="2043364596" sldId="2146847033"/>
            <ac:spMk id="41" creationId="{59EA9267-942B-4D68-9FA9-49087C4A5F12}"/>
          </ac:spMkLst>
        </pc:spChg>
        <pc:spChg chg="mod">
          <ac:chgData name="Facundo Kogan" userId="70c5344707c1e834" providerId="LiveId" clId="{F7CF184C-4E9B-468E-A8F2-1B127AF5DF24}" dt="2021-10-29T15:19:24.860" v="4963" actId="255"/>
          <ac:spMkLst>
            <pc:docMk/>
            <pc:sldMk cId="2043364596" sldId="2146847033"/>
            <ac:spMk id="42" creationId="{A327B052-FFDA-4917-A229-F34C2748DFC6}"/>
          </ac:spMkLst>
        </pc:spChg>
        <pc:spChg chg="mod">
          <ac:chgData name="Facundo Kogan" userId="70c5344707c1e834" providerId="LiveId" clId="{F7CF184C-4E9B-468E-A8F2-1B127AF5DF24}" dt="2021-10-29T15:09:57.672" v="4631" actId="1035"/>
          <ac:spMkLst>
            <pc:docMk/>
            <pc:sldMk cId="2043364596" sldId="2146847033"/>
            <ac:spMk id="43" creationId="{ED8B09FF-15DE-4121-88AC-002562A3770E}"/>
          </ac:spMkLst>
        </pc:spChg>
        <pc:spChg chg="del">
          <ac:chgData name="Facundo Kogan" userId="70c5344707c1e834" providerId="LiveId" clId="{F7CF184C-4E9B-468E-A8F2-1B127AF5DF24}" dt="2021-10-29T14:35:11.243" v="3500" actId="478"/>
          <ac:spMkLst>
            <pc:docMk/>
            <pc:sldMk cId="2043364596" sldId="2146847033"/>
            <ac:spMk id="44" creationId="{936EF044-CD87-4855-A490-CBEDE489C72F}"/>
          </ac:spMkLst>
        </pc:spChg>
        <pc:spChg chg="mod">
          <ac:chgData name="Facundo Kogan" userId="70c5344707c1e834" providerId="LiveId" clId="{F7CF184C-4E9B-468E-A8F2-1B127AF5DF24}" dt="2021-10-29T15:09:19.622" v="4589" actId="1076"/>
          <ac:spMkLst>
            <pc:docMk/>
            <pc:sldMk cId="2043364596" sldId="2146847033"/>
            <ac:spMk id="45" creationId="{0316B64C-1A57-4C65-A5A4-E3D40B34DBE0}"/>
          </ac:spMkLst>
        </pc:spChg>
        <pc:spChg chg="del">
          <ac:chgData name="Facundo Kogan" userId="70c5344707c1e834" providerId="LiveId" clId="{F7CF184C-4E9B-468E-A8F2-1B127AF5DF24}" dt="2021-10-29T15:12:17.554" v="4709" actId="478"/>
          <ac:spMkLst>
            <pc:docMk/>
            <pc:sldMk cId="2043364596" sldId="2146847033"/>
            <ac:spMk id="47" creationId="{7574EB00-C328-426F-9D2A-9A8430F76816}"/>
          </ac:spMkLst>
        </pc:spChg>
        <pc:spChg chg="mod">
          <ac:chgData name="Facundo Kogan" userId="70c5344707c1e834" providerId="LiveId" clId="{F7CF184C-4E9B-468E-A8F2-1B127AF5DF24}" dt="2021-10-29T15:03:03.174" v="4545" actId="164"/>
          <ac:spMkLst>
            <pc:docMk/>
            <pc:sldMk cId="2043364596" sldId="2146847033"/>
            <ac:spMk id="48" creationId="{84DB131D-AA3B-49B2-8AF5-5467E2BD4242}"/>
          </ac:spMkLst>
        </pc:spChg>
        <pc:spChg chg="mod">
          <ac:chgData name="Facundo Kogan" userId="70c5344707c1e834" providerId="LiveId" clId="{F7CF184C-4E9B-468E-A8F2-1B127AF5DF24}" dt="2021-10-29T15:11:52.296" v="4705" actId="20577"/>
          <ac:spMkLst>
            <pc:docMk/>
            <pc:sldMk cId="2043364596" sldId="2146847033"/>
            <ac:spMk id="49" creationId="{602F1AE6-1DF1-4712-846D-3FA59B0D9A87}"/>
          </ac:spMkLst>
        </pc:spChg>
        <pc:spChg chg="mod">
          <ac:chgData name="Facundo Kogan" userId="70c5344707c1e834" providerId="LiveId" clId="{F7CF184C-4E9B-468E-A8F2-1B127AF5DF24}" dt="2021-10-29T15:22:19.163" v="5039" actId="20577"/>
          <ac:spMkLst>
            <pc:docMk/>
            <pc:sldMk cId="2043364596" sldId="2146847033"/>
            <ac:spMk id="51" creationId="{C8F965E4-C46B-40E5-934E-AACE00FCDF28}"/>
          </ac:spMkLst>
        </pc:spChg>
        <pc:spChg chg="add mod">
          <ac:chgData name="Facundo Kogan" userId="70c5344707c1e834" providerId="LiveId" clId="{F7CF184C-4E9B-468E-A8F2-1B127AF5DF24}" dt="2021-10-29T14:37:55.661" v="3549" actId="1076"/>
          <ac:spMkLst>
            <pc:docMk/>
            <pc:sldMk cId="2043364596" sldId="2146847033"/>
            <ac:spMk id="52" creationId="{D6806352-CA50-48E6-A2A9-87BB62BEED8A}"/>
          </ac:spMkLst>
        </pc:spChg>
        <pc:spChg chg="mod">
          <ac:chgData name="Facundo Kogan" userId="70c5344707c1e834" providerId="LiveId" clId="{F7CF184C-4E9B-468E-A8F2-1B127AF5DF24}" dt="2021-10-29T15:03:03.174" v="4545" actId="164"/>
          <ac:spMkLst>
            <pc:docMk/>
            <pc:sldMk cId="2043364596" sldId="2146847033"/>
            <ac:spMk id="54" creationId="{B1CA8394-C619-4A15-A970-C0319C7A2F82}"/>
          </ac:spMkLst>
        </pc:spChg>
        <pc:spChg chg="del">
          <ac:chgData name="Facundo Kogan" userId="70c5344707c1e834" providerId="LiveId" clId="{F7CF184C-4E9B-468E-A8F2-1B127AF5DF24}" dt="2021-10-29T15:12:11.923" v="4706" actId="478"/>
          <ac:spMkLst>
            <pc:docMk/>
            <pc:sldMk cId="2043364596" sldId="2146847033"/>
            <ac:spMk id="62" creationId="{9F1EDB9B-6DE0-4928-88A5-551B633BB91F}"/>
          </ac:spMkLst>
        </pc:spChg>
        <pc:spChg chg="del mod">
          <ac:chgData name="Facundo Kogan" userId="70c5344707c1e834" providerId="LiveId" clId="{F7CF184C-4E9B-468E-A8F2-1B127AF5DF24}" dt="2021-10-29T15:12:15.380" v="4708" actId="478"/>
          <ac:spMkLst>
            <pc:docMk/>
            <pc:sldMk cId="2043364596" sldId="2146847033"/>
            <ac:spMk id="63" creationId="{353696F6-59B2-46F0-B5FE-E528A05CCE18}"/>
          </ac:spMkLst>
        </pc:spChg>
        <pc:spChg chg="mod">
          <ac:chgData name="Facundo Kogan" userId="70c5344707c1e834" providerId="LiveId" clId="{F7CF184C-4E9B-468E-A8F2-1B127AF5DF24}" dt="2021-10-29T15:22:53.714" v="5057" actId="20577"/>
          <ac:spMkLst>
            <pc:docMk/>
            <pc:sldMk cId="2043364596" sldId="2146847033"/>
            <ac:spMk id="64" creationId="{D9DD3F04-C842-45A8-A4A1-507C69EFADF2}"/>
          </ac:spMkLst>
        </pc:spChg>
        <pc:spChg chg="del mod">
          <ac:chgData name="Facundo Kogan" userId="70c5344707c1e834" providerId="LiveId" clId="{F7CF184C-4E9B-468E-A8F2-1B127AF5DF24}" dt="2021-10-29T15:12:57.813" v="4719" actId="478"/>
          <ac:spMkLst>
            <pc:docMk/>
            <pc:sldMk cId="2043364596" sldId="2146847033"/>
            <ac:spMk id="84" creationId="{C9E31383-E790-48D3-AA50-4BFFD5583FAB}"/>
          </ac:spMkLst>
        </pc:spChg>
        <pc:spChg chg="del">
          <ac:chgData name="Facundo Kogan" userId="70c5344707c1e834" providerId="LiveId" clId="{F7CF184C-4E9B-468E-A8F2-1B127AF5DF24}" dt="2021-10-29T15:13:04.096" v="4721" actId="478"/>
          <ac:spMkLst>
            <pc:docMk/>
            <pc:sldMk cId="2043364596" sldId="2146847033"/>
            <ac:spMk id="85" creationId="{1DFBDE00-3889-4768-9F2E-C48DC0875F5F}"/>
          </ac:spMkLst>
        </pc:spChg>
        <pc:spChg chg="add mod">
          <ac:chgData name="Facundo Kogan" userId="70c5344707c1e834" providerId="LiveId" clId="{F7CF184C-4E9B-468E-A8F2-1B127AF5DF24}" dt="2021-10-29T15:09:57.672" v="4631" actId="1035"/>
          <ac:spMkLst>
            <pc:docMk/>
            <pc:sldMk cId="2043364596" sldId="2146847033"/>
            <ac:spMk id="86" creationId="{BB9233E0-C6B2-4128-B6BB-4E7B0DBB972E}"/>
          </ac:spMkLst>
        </pc:spChg>
        <pc:spChg chg="del">
          <ac:chgData name="Facundo Kogan" userId="70c5344707c1e834" providerId="LiveId" clId="{F7CF184C-4E9B-468E-A8F2-1B127AF5DF24}" dt="2021-10-29T15:13:07.026" v="4724" actId="478"/>
          <ac:spMkLst>
            <pc:docMk/>
            <pc:sldMk cId="2043364596" sldId="2146847033"/>
            <ac:spMk id="87" creationId="{C45E9215-213C-4DFF-86F3-A7EB91758D5C}"/>
          </ac:spMkLst>
        </pc:spChg>
        <pc:spChg chg="add mod">
          <ac:chgData name="Facundo Kogan" userId="70c5344707c1e834" providerId="LiveId" clId="{F7CF184C-4E9B-468E-A8F2-1B127AF5DF24}" dt="2021-10-29T14:41:55.804" v="3662" actId="1037"/>
          <ac:spMkLst>
            <pc:docMk/>
            <pc:sldMk cId="2043364596" sldId="2146847033"/>
            <ac:spMk id="88" creationId="{E9BF9353-A900-48F2-80E7-B03A218C5D36}"/>
          </ac:spMkLst>
        </pc:spChg>
        <pc:spChg chg="mod">
          <ac:chgData name="Facundo Kogan" userId="70c5344707c1e834" providerId="LiveId" clId="{F7CF184C-4E9B-468E-A8F2-1B127AF5DF24}" dt="2021-10-29T15:16:04.100" v="4850" actId="164"/>
          <ac:spMkLst>
            <pc:docMk/>
            <pc:sldMk cId="2043364596" sldId="2146847033"/>
            <ac:spMk id="91" creationId="{EAB4EA1F-2438-4BF8-B2D7-0E38D830EBC1}"/>
          </ac:spMkLst>
        </pc:spChg>
        <pc:spChg chg="mod">
          <ac:chgData name="Facundo Kogan" userId="70c5344707c1e834" providerId="LiveId" clId="{F7CF184C-4E9B-468E-A8F2-1B127AF5DF24}" dt="2021-10-29T15:16:04.100" v="4850" actId="164"/>
          <ac:spMkLst>
            <pc:docMk/>
            <pc:sldMk cId="2043364596" sldId="2146847033"/>
            <ac:spMk id="92" creationId="{2B58B4B6-C522-4AC1-AE92-71F5F4CFF5AC}"/>
          </ac:spMkLst>
        </pc:spChg>
        <pc:spChg chg="mod">
          <ac:chgData name="Facundo Kogan" userId="70c5344707c1e834" providerId="LiveId" clId="{F7CF184C-4E9B-468E-A8F2-1B127AF5DF24}" dt="2021-10-29T15:16:04.100" v="4850" actId="164"/>
          <ac:spMkLst>
            <pc:docMk/>
            <pc:sldMk cId="2043364596" sldId="2146847033"/>
            <ac:spMk id="93" creationId="{A2B0E343-FAD5-4A7F-B428-B8FF7B1F32CC}"/>
          </ac:spMkLst>
        </pc:spChg>
        <pc:spChg chg="mod">
          <ac:chgData name="Facundo Kogan" userId="70c5344707c1e834" providerId="LiveId" clId="{F7CF184C-4E9B-468E-A8F2-1B127AF5DF24}" dt="2021-10-29T15:16:04.100" v="4850" actId="164"/>
          <ac:spMkLst>
            <pc:docMk/>
            <pc:sldMk cId="2043364596" sldId="2146847033"/>
            <ac:spMk id="94" creationId="{86D4A7AB-954E-4CB3-A424-5A654E9829D6}"/>
          </ac:spMkLst>
        </pc:spChg>
        <pc:spChg chg="del mod">
          <ac:chgData name="Facundo Kogan" userId="70c5344707c1e834" providerId="LiveId" clId="{F7CF184C-4E9B-468E-A8F2-1B127AF5DF24}" dt="2021-10-29T14:35:06.115" v="3496" actId="478"/>
          <ac:spMkLst>
            <pc:docMk/>
            <pc:sldMk cId="2043364596" sldId="2146847033"/>
            <ac:spMk id="97" creationId="{83AB230A-2A1D-4A9C-8397-32EF2A5FC3FB}"/>
          </ac:spMkLst>
        </pc:spChg>
        <pc:spChg chg="del">
          <ac:chgData name="Facundo Kogan" userId="70c5344707c1e834" providerId="LiveId" clId="{F7CF184C-4E9B-468E-A8F2-1B127AF5DF24}" dt="2021-10-29T14:35:07.509" v="3497" actId="478"/>
          <ac:spMkLst>
            <pc:docMk/>
            <pc:sldMk cId="2043364596" sldId="2146847033"/>
            <ac:spMk id="98" creationId="{301E83C8-4C1B-43E3-BC1E-694BC257BD05}"/>
          </ac:spMkLst>
        </pc:spChg>
        <pc:spChg chg="add mod">
          <ac:chgData name="Facundo Kogan" userId="70c5344707c1e834" providerId="LiveId" clId="{F7CF184C-4E9B-468E-A8F2-1B127AF5DF24}" dt="2021-10-29T15:12:23.608" v="4711" actId="1076"/>
          <ac:spMkLst>
            <pc:docMk/>
            <pc:sldMk cId="2043364596" sldId="2146847033"/>
            <ac:spMk id="101" creationId="{608495AA-F651-45BD-A5A1-FC0C411852A0}"/>
          </ac:spMkLst>
        </pc:spChg>
        <pc:spChg chg="add mod">
          <ac:chgData name="Facundo Kogan" userId="70c5344707c1e834" providerId="LiveId" clId="{F7CF184C-4E9B-468E-A8F2-1B127AF5DF24}" dt="2021-10-29T15:13:52.352" v="4753" actId="1038"/>
          <ac:spMkLst>
            <pc:docMk/>
            <pc:sldMk cId="2043364596" sldId="2146847033"/>
            <ac:spMk id="107" creationId="{FA028AC1-BAC9-4EBA-962F-E1F2F4B737D3}"/>
          </ac:spMkLst>
        </pc:spChg>
        <pc:spChg chg="add mod">
          <ac:chgData name="Facundo Kogan" userId="70c5344707c1e834" providerId="LiveId" clId="{F7CF184C-4E9B-468E-A8F2-1B127AF5DF24}" dt="2021-10-29T15:14:21.152" v="4802" actId="14100"/>
          <ac:spMkLst>
            <pc:docMk/>
            <pc:sldMk cId="2043364596" sldId="2146847033"/>
            <ac:spMk id="110" creationId="{6FCBE493-118E-4A74-8A1E-43A057413E3B}"/>
          </ac:spMkLst>
        </pc:spChg>
        <pc:spChg chg="add mod">
          <ac:chgData name="Facundo Kogan" userId="70c5344707c1e834" providerId="LiveId" clId="{F7CF184C-4E9B-468E-A8F2-1B127AF5DF24}" dt="2021-10-29T15:15:35.920" v="4845" actId="1037"/>
          <ac:spMkLst>
            <pc:docMk/>
            <pc:sldMk cId="2043364596" sldId="2146847033"/>
            <ac:spMk id="116" creationId="{5A0ED0A4-795A-4920-A9AA-229005DCED63}"/>
          </ac:spMkLst>
        </pc:spChg>
        <pc:spChg chg="add mod">
          <ac:chgData name="Facundo Kogan" userId="70c5344707c1e834" providerId="LiveId" clId="{F7CF184C-4E9B-468E-A8F2-1B127AF5DF24}" dt="2021-10-29T15:15:48.543" v="4847" actId="1076"/>
          <ac:spMkLst>
            <pc:docMk/>
            <pc:sldMk cId="2043364596" sldId="2146847033"/>
            <ac:spMk id="119" creationId="{CAC9C988-A607-498C-98E2-2C07626E2B2C}"/>
          </ac:spMkLst>
        </pc:spChg>
        <pc:grpChg chg="add mod">
          <ac:chgData name="Facundo Kogan" userId="70c5344707c1e834" providerId="LiveId" clId="{F7CF184C-4E9B-468E-A8F2-1B127AF5DF24}" dt="2021-10-29T15:03:05.767" v="4547" actId="1036"/>
          <ac:grpSpMkLst>
            <pc:docMk/>
            <pc:sldMk cId="2043364596" sldId="2146847033"/>
            <ac:grpSpMk id="76" creationId="{43F10579-0737-4E1A-ADC1-0D7DED3D0EA0}"/>
          </ac:grpSpMkLst>
        </pc:grpChg>
        <pc:grpChg chg="add mod">
          <ac:chgData name="Facundo Kogan" userId="70c5344707c1e834" providerId="LiveId" clId="{F7CF184C-4E9B-468E-A8F2-1B127AF5DF24}" dt="2021-10-29T15:16:07.933" v="4875" actId="1036"/>
          <ac:grpSpMkLst>
            <pc:docMk/>
            <pc:sldMk cId="2043364596" sldId="2146847033"/>
            <ac:grpSpMk id="120" creationId="{F55E72BE-DD3B-449C-B1CD-0C4AD982C0A1}"/>
          </ac:grpSpMkLst>
        </pc:grpChg>
        <pc:graphicFrameChg chg="mod">
          <ac:chgData name="Facundo Kogan" userId="70c5344707c1e834" providerId="LiveId" clId="{F7CF184C-4E9B-468E-A8F2-1B127AF5DF24}" dt="2021-10-29T15:03:33.382" v="4551" actId="1035"/>
          <ac:graphicFrameMkLst>
            <pc:docMk/>
            <pc:sldMk cId="2043364596" sldId="2146847033"/>
            <ac:graphicFrameMk id="3" creationId="{00000000-0000-0000-0000-000000000000}"/>
          </ac:graphicFrameMkLst>
        </pc:graphicFrameChg>
        <pc:cxnChg chg="add mod">
          <ac:chgData name="Facundo Kogan" userId="70c5344707c1e834" providerId="LiveId" clId="{F7CF184C-4E9B-468E-A8F2-1B127AF5DF24}" dt="2021-10-29T15:09:57.672" v="4631" actId="1035"/>
          <ac:cxnSpMkLst>
            <pc:docMk/>
            <pc:sldMk cId="2043364596" sldId="2146847033"/>
            <ac:cxnSpMk id="46" creationId="{CC240A3C-EED1-48D7-B07F-E9710DDDEC8F}"/>
          </ac:cxnSpMkLst>
        </pc:cxnChg>
        <pc:cxnChg chg="mod">
          <ac:chgData name="Facundo Kogan" userId="70c5344707c1e834" providerId="LiveId" clId="{F7CF184C-4E9B-468E-A8F2-1B127AF5DF24}" dt="2021-10-29T15:12:36.023" v="4715" actId="14100"/>
          <ac:cxnSpMkLst>
            <pc:docMk/>
            <pc:sldMk cId="2043364596" sldId="2146847033"/>
            <ac:cxnSpMk id="50" creationId="{BD5247C1-3F50-4247-BDFA-87B979361AF5}"/>
          </ac:cxnSpMkLst>
        </pc:cxnChg>
        <pc:cxnChg chg="del mod">
          <ac:chgData name="Facundo Kogan" userId="70c5344707c1e834" providerId="LiveId" clId="{F7CF184C-4E9B-468E-A8F2-1B127AF5DF24}" dt="2021-10-29T15:12:32.009" v="4714" actId="478"/>
          <ac:cxnSpMkLst>
            <pc:docMk/>
            <pc:sldMk cId="2043364596" sldId="2146847033"/>
            <ac:cxnSpMk id="56" creationId="{1543BEBC-DEED-4A77-97DB-FE5EDB1006ED}"/>
          </ac:cxnSpMkLst>
        </pc:cxnChg>
        <pc:cxnChg chg="del mod">
          <ac:chgData name="Facundo Kogan" userId="70c5344707c1e834" providerId="LiveId" clId="{F7CF184C-4E9B-468E-A8F2-1B127AF5DF24}" dt="2021-10-29T15:09:24.238" v="4590" actId="478"/>
          <ac:cxnSpMkLst>
            <pc:docMk/>
            <pc:sldMk cId="2043364596" sldId="2146847033"/>
            <ac:cxnSpMk id="57" creationId="{74D16EE3-809B-4E2D-9C6E-6F2CE7C68366}"/>
          </ac:cxnSpMkLst>
        </pc:cxnChg>
        <pc:cxnChg chg="del mod">
          <ac:chgData name="Facundo Kogan" userId="70c5344707c1e834" providerId="LiveId" clId="{F7CF184C-4E9B-468E-A8F2-1B127AF5DF24}" dt="2021-10-29T15:13:00.089" v="4720" actId="478"/>
          <ac:cxnSpMkLst>
            <pc:docMk/>
            <pc:sldMk cId="2043364596" sldId="2146847033"/>
            <ac:cxnSpMk id="67" creationId="{70103A53-BA7C-4376-AFA4-D975A1D18D79}"/>
          </ac:cxnSpMkLst>
        </pc:cxnChg>
        <pc:cxnChg chg="add mod">
          <ac:chgData name="Facundo Kogan" userId="70c5344707c1e834" providerId="LiveId" clId="{F7CF184C-4E9B-468E-A8F2-1B127AF5DF24}" dt="2021-10-29T15:09:57.672" v="4631" actId="1035"/>
          <ac:cxnSpMkLst>
            <pc:docMk/>
            <pc:sldMk cId="2043364596" sldId="2146847033"/>
            <ac:cxnSpMk id="72" creationId="{3AF32C12-2632-40A4-8DD1-85574A1FC661}"/>
          </ac:cxnSpMkLst>
        </pc:cxnChg>
        <pc:cxnChg chg="del mod">
          <ac:chgData name="Facundo Kogan" userId="70c5344707c1e834" providerId="LiveId" clId="{F7CF184C-4E9B-468E-A8F2-1B127AF5DF24}" dt="2021-10-29T15:10:02.286" v="4632" actId="478"/>
          <ac:cxnSpMkLst>
            <pc:docMk/>
            <pc:sldMk cId="2043364596" sldId="2146847033"/>
            <ac:cxnSpMk id="78" creationId="{329DDCB9-5141-44B3-A419-A244AB1D86BD}"/>
          </ac:cxnSpMkLst>
        </pc:cxnChg>
        <pc:cxnChg chg="del mod">
          <ac:chgData name="Facundo Kogan" userId="70c5344707c1e834" providerId="LiveId" clId="{F7CF184C-4E9B-468E-A8F2-1B127AF5DF24}" dt="2021-10-29T15:13:04.846" v="4722" actId="478"/>
          <ac:cxnSpMkLst>
            <pc:docMk/>
            <pc:sldMk cId="2043364596" sldId="2146847033"/>
            <ac:cxnSpMk id="89" creationId="{18AAB635-97F4-4A09-808F-60F42811C3C4}"/>
          </ac:cxnSpMkLst>
        </pc:cxnChg>
        <pc:cxnChg chg="add mod">
          <ac:chgData name="Facundo Kogan" userId="70c5344707c1e834" providerId="LiveId" clId="{F7CF184C-4E9B-468E-A8F2-1B127AF5DF24}" dt="2021-10-29T15:09:57.672" v="4631" actId="1035"/>
          <ac:cxnSpMkLst>
            <pc:docMk/>
            <pc:sldMk cId="2043364596" sldId="2146847033"/>
            <ac:cxnSpMk id="90" creationId="{E9F3AD56-FD24-4338-A911-9180A150D4B3}"/>
          </ac:cxnSpMkLst>
        </pc:cxnChg>
        <pc:cxnChg chg="del mod">
          <ac:chgData name="Facundo Kogan" userId="70c5344707c1e834" providerId="LiveId" clId="{F7CF184C-4E9B-468E-A8F2-1B127AF5DF24}" dt="2021-10-29T15:13:06.061" v="4723" actId="478"/>
          <ac:cxnSpMkLst>
            <pc:docMk/>
            <pc:sldMk cId="2043364596" sldId="2146847033"/>
            <ac:cxnSpMk id="95" creationId="{8DB20B90-48EB-4A4D-A6F9-9650F52DC745}"/>
          </ac:cxnSpMkLst>
        </pc:cxnChg>
        <pc:cxnChg chg="add mod">
          <ac:chgData name="Facundo Kogan" userId="70c5344707c1e834" providerId="LiveId" clId="{F7CF184C-4E9B-468E-A8F2-1B127AF5DF24}" dt="2021-10-29T15:09:41.688" v="4612" actId="1038"/>
          <ac:cxnSpMkLst>
            <pc:docMk/>
            <pc:sldMk cId="2043364596" sldId="2146847033"/>
            <ac:cxnSpMk id="96" creationId="{9B6EDB23-5718-4258-ABE2-BFCB6E71D3FC}"/>
          </ac:cxnSpMkLst>
        </pc:cxnChg>
        <pc:cxnChg chg="del mod">
          <ac:chgData name="Facundo Kogan" userId="70c5344707c1e834" providerId="LiveId" clId="{F7CF184C-4E9B-468E-A8F2-1B127AF5DF24}" dt="2021-10-29T14:35:08.491" v="3498" actId="478"/>
          <ac:cxnSpMkLst>
            <pc:docMk/>
            <pc:sldMk cId="2043364596" sldId="2146847033"/>
            <ac:cxnSpMk id="99" creationId="{08940FAC-B5A5-4781-99ED-C23C5455DCE3}"/>
          </ac:cxnSpMkLst>
        </pc:cxnChg>
        <pc:cxnChg chg="del mod">
          <ac:chgData name="Facundo Kogan" userId="70c5344707c1e834" providerId="LiveId" clId="{F7CF184C-4E9B-468E-A8F2-1B127AF5DF24}" dt="2021-10-29T14:35:10.053" v="3499" actId="478"/>
          <ac:cxnSpMkLst>
            <pc:docMk/>
            <pc:sldMk cId="2043364596" sldId="2146847033"/>
            <ac:cxnSpMk id="102" creationId="{3108F5C6-38BD-4677-9841-D44FFDB37744}"/>
          </ac:cxnSpMkLst>
        </pc:cxnChg>
        <pc:cxnChg chg="add mod">
          <ac:chgData name="Facundo Kogan" userId="70c5344707c1e834" providerId="LiveId" clId="{F7CF184C-4E9B-468E-A8F2-1B127AF5DF24}" dt="2021-10-29T15:12:45.086" v="4718" actId="14100"/>
          <ac:cxnSpMkLst>
            <pc:docMk/>
            <pc:sldMk cId="2043364596" sldId="2146847033"/>
            <ac:cxnSpMk id="104" creationId="{2DF8D4B0-F799-44B1-BF36-0DA2ABC96A1F}"/>
          </ac:cxnSpMkLst>
        </pc:cxnChg>
        <pc:cxnChg chg="add mod">
          <ac:chgData name="Facundo Kogan" userId="70c5344707c1e834" providerId="LiveId" clId="{F7CF184C-4E9B-468E-A8F2-1B127AF5DF24}" dt="2021-10-29T15:14:21.152" v="4802" actId="14100"/>
          <ac:cxnSpMkLst>
            <pc:docMk/>
            <pc:sldMk cId="2043364596" sldId="2146847033"/>
            <ac:cxnSpMk id="109" creationId="{64009C97-957D-486A-A289-699564E6B157}"/>
          </ac:cxnSpMkLst>
        </pc:cxnChg>
        <pc:cxnChg chg="add mod">
          <ac:chgData name="Facundo Kogan" userId="70c5344707c1e834" providerId="LiveId" clId="{F7CF184C-4E9B-468E-A8F2-1B127AF5DF24}" dt="2021-10-29T15:15:35.920" v="4845" actId="1037"/>
          <ac:cxnSpMkLst>
            <pc:docMk/>
            <pc:sldMk cId="2043364596" sldId="2146847033"/>
            <ac:cxnSpMk id="118" creationId="{F787FA2B-CB75-42B4-B7B0-075C72F94828}"/>
          </ac:cxnSpMkLst>
        </pc:cxnChg>
        <pc:cxnChg chg="add del mod">
          <ac:chgData name="Facundo Kogan" userId="70c5344707c1e834" providerId="LiveId" clId="{F7CF184C-4E9B-468E-A8F2-1B127AF5DF24}" dt="2021-10-29T15:17:03.817" v="4881" actId="478"/>
          <ac:cxnSpMkLst>
            <pc:docMk/>
            <pc:sldMk cId="2043364596" sldId="2146847033"/>
            <ac:cxnSpMk id="122" creationId="{292E2222-7397-4021-9ED4-9268E1D849B0}"/>
          </ac:cxnSpMkLst>
        </pc:cxnChg>
        <pc:cxnChg chg="add mod">
          <ac:chgData name="Facundo Kogan" userId="70c5344707c1e834" providerId="LiveId" clId="{F7CF184C-4E9B-468E-A8F2-1B127AF5DF24}" dt="2021-10-29T15:17:13.478" v="4883" actId="208"/>
          <ac:cxnSpMkLst>
            <pc:docMk/>
            <pc:sldMk cId="2043364596" sldId="2146847033"/>
            <ac:cxnSpMk id="124" creationId="{C7E33E36-6825-44E7-8F3D-775F2AFA05E2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05F3544-35D5-4879-8291-41DDA08DF830}" type="datetimeFigureOut">
              <a:rPr lang="en-US" smtClean="0"/>
              <a:t>11/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B4AFF90-6F5D-4E86-8312-91625573C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053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4FDA0-F78B-6A45-B4C0-3942B58FC5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5257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4FDA0-F78B-6A45-B4C0-3942B58FC5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491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4FDA0-F78B-6A45-B4C0-3942B58FC5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189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4FDA0-F78B-6A45-B4C0-3942B58FC5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1517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4FDA0-F78B-6A45-B4C0-3942B58FC5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66714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4FDA0-F78B-6A45-B4C0-3942B58FC5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6185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4FDA0-F78B-6A45-B4C0-3942B58FC5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1294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4FDA0-F78B-6A45-B4C0-3942B58FC5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67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296729-F8F0-F644-A7CA-E981330DE0F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9144000" cy="514807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622F5B9-E8AE-5E4A-9FEC-3BADFF3419CC}"/>
              </a:ext>
            </a:extLst>
          </p:cNvPr>
          <p:cNvSpPr/>
          <p:nvPr userDrawn="1"/>
        </p:nvSpPr>
        <p:spPr>
          <a:xfrm>
            <a:off x="0" y="0"/>
            <a:ext cx="139775" cy="5143499"/>
          </a:xfrm>
          <a:prstGeom prst="rect">
            <a:avLst/>
          </a:prstGeom>
          <a:solidFill>
            <a:srgbClr val="38C6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2382" y="2411188"/>
            <a:ext cx="7930038" cy="1241822"/>
          </a:xfrm>
        </p:spPr>
        <p:txBody>
          <a:bodyPr>
            <a:normAutofit/>
          </a:bodyPr>
          <a:lstStyle>
            <a:lvl1pPr marL="0" indent="0" algn="l">
              <a:buNone/>
              <a:defRPr sz="1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9509" y="4566542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11/4/2021</a:t>
            </a:fld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EF26EBB-8E7B-D146-A34C-3C1CEB98A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81" y="1106872"/>
            <a:ext cx="7930038" cy="1259182"/>
          </a:xfrm>
        </p:spPr>
        <p:txBody>
          <a:bodyPr anchor="b">
            <a:noAutofit/>
          </a:bodyPr>
          <a:lstStyle>
            <a:lvl1pPr>
              <a:defRPr sz="32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3F06DF-BB04-9045-8705-DC28E84E80BB}"/>
              </a:ext>
            </a:extLst>
          </p:cNvPr>
          <p:cNvSpPr/>
          <p:nvPr userDrawn="1"/>
        </p:nvSpPr>
        <p:spPr>
          <a:xfrm>
            <a:off x="317452" y="4916157"/>
            <a:ext cx="2976902" cy="18466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1 Lumen Technologies. All Rights Reserved. </a:t>
            </a:r>
          </a:p>
        </p:txBody>
      </p:sp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89D8B107-0A5A-8441-8B74-1B24E7BB33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48571" y="4504186"/>
            <a:ext cx="1603374" cy="42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9646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1"/>
            <a:ext cx="8229600" cy="6179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2103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55657"/>
            <a:ext cx="3868340" cy="29865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99409" y="102103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99409" y="1655658"/>
            <a:ext cx="3887391" cy="29865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3F4A597-5E1F-1F46-B0A3-DFC4E708EF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510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1BFAEFA-C930-344D-8094-90C929E417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916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1B57F51-CB43-2E4B-A9DA-19B7710F55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3625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E1DC3B6-45A0-8242-92C8-3ECAB27A2DA8}"/>
              </a:ext>
            </a:extLst>
          </p:cNvPr>
          <p:cNvSpPr/>
          <p:nvPr userDrawn="1"/>
        </p:nvSpPr>
        <p:spPr>
          <a:xfrm>
            <a:off x="0" y="0"/>
            <a:ext cx="9144000" cy="185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3DC30AD-B46C-2D47-8898-A25FD2603CE9}"/>
              </a:ext>
            </a:extLst>
          </p:cNvPr>
          <p:cNvSpPr/>
          <p:nvPr userDrawn="1"/>
        </p:nvSpPr>
        <p:spPr>
          <a:xfrm>
            <a:off x="1" y="0"/>
            <a:ext cx="22485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56A892-D42B-F94C-A306-4A6E49A13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760"/>
            <a:ext cx="8229600" cy="6262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865BCC9-3271-D040-98FE-4E6BE8C16F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5216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8217DD6-7104-014F-8F28-477049DAA9E3}"/>
              </a:ext>
            </a:extLst>
          </p:cNvPr>
          <p:cNvSpPr/>
          <p:nvPr userDrawn="1"/>
        </p:nvSpPr>
        <p:spPr>
          <a:xfrm>
            <a:off x="0" y="0"/>
            <a:ext cx="3762531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9738" y="936885"/>
            <a:ext cx="4629150" cy="34709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885950"/>
            <a:ext cx="2949178" cy="2515791"/>
          </a:xfrm>
        </p:spPr>
        <p:txBody>
          <a:bodyPr>
            <a:normAutofit/>
          </a:bodyPr>
          <a:lstStyle>
            <a:lvl1pPr marL="120650" indent="-120650"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/>
            </a:lvl1pPr>
            <a:lvl2pPr marL="233363" indent="-112713">
              <a:buFont typeface="Monaco" pitchFamily="2" charset="77"/>
              <a:buChar char="⎻"/>
              <a:tabLst/>
              <a:defRPr sz="1400"/>
            </a:lvl2pPr>
            <a:lvl3pPr marL="347663" indent="-114300">
              <a:buFont typeface="Arial" panose="020B0604020202020204" pitchFamily="34" charset="0"/>
              <a:buChar char="•"/>
              <a:tabLst/>
              <a:defRPr sz="14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A91F93-C01C-3B40-83BD-D7131A565B4B}"/>
              </a:ext>
            </a:extLst>
          </p:cNvPr>
          <p:cNvSpPr/>
          <p:nvPr userDrawn="1"/>
        </p:nvSpPr>
        <p:spPr>
          <a:xfrm>
            <a:off x="3762531" y="0"/>
            <a:ext cx="5381469" cy="2773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EE385D-A04C-384D-B8EE-DB7785726A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238" y="1543050"/>
            <a:ext cx="2949575" cy="26828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D09CA6-8E1B-9A49-AD55-A9E640A55953}"/>
              </a:ext>
            </a:extLst>
          </p:cNvPr>
          <p:cNvSpPr/>
          <p:nvPr userDrawn="1"/>
        </p:nvSpPr>
        <p:spPr>
          <a:xfrm>
            <a:off x="662226" y="4837784"/>
            <a:ext cx="2976902" cy="18466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6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1 Lumen Technologies. All Rights Reserved. 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27F29D1-5F39-5E47-815B-6248C04B72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774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2E83CD8B-8BEE-8D48-AE97-E2F3695C91B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887391" y="738587"/>
            <a:ext cx="4626768" cy="3663154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3"/>
              </a:buClr>
              <a:buSzPct val="100000"/>
              <a:buFontTx/>
              <a:buNone/>
              <a:tabLst/>
              <a:defRPr/>
            </a:lvl1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icon to add picture</a:t>
            </a:r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2CC082-6E87-6B43-8C43-0AE08D2B21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3087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F1E5326-C8BD-9F4C-AF4B-21554AC59F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87391" y="738587"/>
            <a:ext cx="4626768" cy="36631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524FA6A-E544-F346-B19B-6E4FDBD9FD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5867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88;p17">
            <a:extLst>
              <a:ext uri="{FF2B5EF4-FFF2-40B4-BE49-F238E27FC236}">
                <a16:creationId xmlns:a16="http://schemas.microsoft.com/office/drawing/2014/main" id="{4BED3398-50B2-204B-8F76-E3433308D810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50" b="0" i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</a:rPr>
              <a:t> </a:t>
            </a:r>
            <a:endParaRPr sz="1350" b="0" i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DBB7FA1-9C57-A44A-A592-9E4D3DB69B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802" y="1202813"/>
            <a:ext cx="7778543" cy="5953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en-US"/>
              <a:t>Content goes her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ED5658-0C28-4443-B358-85BC0726AC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802" y="664171"/>
            <a:ext cx="7778354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0" i="0">
                <a:solidFill>
                  <a:srgbClr val="0072C6"/>
                </a:solidFill>
                <a:latin typeface="Roboto Thin" panose="02000000000000000000" pitchFamily="2" charset="0"/>
                <a:ea typeface="Roboto Thin" panose="02000000000000000000" pitchFamily="2" charset="0"/>
                <a:cs typeface="Roboto Thin" panose="02000000000000000000" pitchFamily="2" charset="0"/>
              </a:defRPr>
            </a:lvl1pPr>
            <a:lvl2pPr marL="342892" indent="0">
              <a:buNone/>
              <a:defRPr b="0" i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685783" indent="0">
              <a:buFont typeface="Arial" panose="020B0604020202020204" pitchFamily="34" charset="0"/>
              <a:buNone/>
              <a:defRPr b="0" i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028675" indent="0">
              <a:buNone/>
              <a:defRPr b="0" i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1371566" indent="0">
              <a:buFont typeface="Arial" panose="020B0604020202020204" pitchFamily="34" charset="0"/>
              <a:buNone/>
              <a:defRPr b="0" i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Headline Goes Here</a:t>
            </a:r>
          </a:p>
        </p:txBody>
      </p:sp>
    </p:spTree>
    <p:extLst>
      <p:ext uri="{BB962C8B-B14F-4D97-AF65-F5344CB8AC3E}">
        <p14:creationId xmlns:p14="http://schemas.microsoft.com/office/powerpoint/2010/main" val="561789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pos="57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2A0788-7D24-EA42-B749-97146BB8D636}"/>
              </a:ext>
            </a:extLst>
          </p:cNvPr>
          <p:cNvSpPr/>
          <p:nvPr userDrawn="1"/>
        </p:nvSpPr>
        <p:spPr>
          <a:xfrm>
            <a:off x="0" y="4428921"/>
            <a:ext cx="9144000" cy="7145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22F5B9-E8AE-5E4A-9FEC-3BADFF3419CC}"/>
              </a:ext>
            </a:extLst>
          </p:cNvPr>
          <p:cNvSpPr/>
          <p:nvPr userDrawn="1"/>
        </p:nvSpPr>
        <p:spPr>
          <a:xfrm>
            <a:off x="0" y="0"/>
            <a:ext cx="9144000" cy="4504692"/>
          </a:xfrm>
          <a:prstGeom prst="rect">
            <a:avLst/>
          </a:prstGeom>
          <a:solidFill>
            <a:srgbClr val="38C6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351" y="3240964"/>
            <a:ext cx="8216963" cy="91131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7351" y="4204994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11/4/2021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A8BB51-8CB8-0545-B2A0-7D418A467FBE}"/>
              </a:ext>
            </a:extLst>
          </p:cNvPr>
          <p:cNvSpPr/>
          <p:nvPr userDrawn="1"/>
        </p:nvSpPr>
        <p:spPr>
          <a:xfrm>
            <a:off x="517161" y="4451406"/>
            <a:ext cx="7086600" cy="54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1E1AB0EF-45BD-FF4B-8AD5-430631598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853" y="1953380"/>
            <a:ext cx="8229600" cy="1259182"/>
          </a:xfrm>
        </p:spPr>
        <p:txBody>
          <a:bodyPr anchor="t">
            <a:noAutofit/>
          </a:bodyPr>
          <a:lstStyle>
            <a:lvl1pPr>
              <a:defRPr sz="42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FE8C9A-A69F-7D4D-AFF6-2F358AD86049}"/>
              </a:ext>
            </a:extLst>
          </p:cNvPr>
          <p:cNvSpPr/>
          <p:nvPr userDrawn="1"/>
        </p:nvSpPr>
        <p:spPr>
          <a:xfrm>
            <a:off x="317452" y="4902236"/>
            <a:ext cx="2976902" cy="18466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1 Lumen Technologies. All Rights Reserved. </a:t>
            </a:r>
          </a:p>
        </p:txBody>
      </p:sp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74DE31DD-2F1A-404A-99D9-7764CA1F94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19353" y="4626115"/>
            <a:ext cx="1603374" cy="42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7257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2A0788-7D24-EA42-B749-97146BB8D636}"/>
              </a:ext>
            </a:extLst>
          </p:cNvPr>
          <p:cNvSpPr/>
          <p:nvPr userDrawn="1"/>
        </p:nvSpPr>
        <p:spPr>
          <a:xfrm>
            <a:off x="0" y="4428921"/>
            <a:ext cx="9144000" cy="7145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22F5B9-E8AE-5E4A-9FEC-3BADFF3419CC}"/>
              </a:ext>
            </a:extLst>
          </p:cNvPr>
          <p:cNvSpPr/>
          <p:nvPr userDrawn="1"/>
        </p:nvSpPr>
        <p:spPr>
          <a:xfrm flipV="1">
            <a:off x="-559" y="4441369"/>
            <a:ext cx="9144000" cy="702129"/>
          </a:xfrm>
          <a:prstGeom prst="rect">
            <a:avLst/>
          </a:prstGeom>
          <a:solidFill>
            <a:srgbClr val="38C6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351" y="3240964"/>
            <a:ext cx="8216963" cy="682917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7351" y="3932777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11/4/2021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A8BB51-8CB8-0545-B2A0-7D418A467FBE}"/>
              </a:ext>
            </a:extLst>
          </p:cNvPr>
          <p:cNvSpPr/>
          <p:nvPr userDrawn="1"/>
        </p:nvSpPr>
        <p:spPr>
          <a:xfrm>
            <a:off x="468131" y="4441369"/>
            <a:ext cx="7086600" cy="54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1E1AB0EF-45BD-FF4B-8AD5-430631598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853" y="1953380"/>
            <a:ext cx="8229600" cy="1259182"/>
          </a:xfrm>
        </p:spPr>
        <p:txBody>
          <a:bodyPr anchor="t">
            <a:noAutofit/>
          </a:bodyPr>
          <a:lstStyle>
            <a:lvl1pPr>
              <a:defRPr sz="42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943EAC-1D41-8344-80F2-D3514B8FECD8}"/>
              </a:ext>
            </a:extLst>
          </p:cNvPr>
          <p:cNvSpPr/>
          <p:nvPr userDrawn="1"/>
        </p:nvSpPr>
        <p:spPr>
          <a:xfrm>
            <a:off x="0" y="0"/>
            <a:ext cx="9144000" cy="2612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444D97-6684-5741-8E58-3D3D708E76CF}"/>
              </a:ext>
            </a:extLst>
          </p:cNvPr>
          <p:cNvSpPr/>
          <p:nvPr userDrawn="1"/>
        </p:nvSpPr>
        <p:spPr>
          <a:xfrm>
            <a:off x="309288" y="4908149"/>
            <a:ext cx="2976902" cy="18466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600" b="0" i="0" kern="120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2021 Lumen Technologies. All Rights Reserved.</a:t>
            </a:r>
            <a:r>
              <a:rPr lang="en-US" sz="6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F6DD24DA-8431-3249-81A4-4F58F469C9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98080" y="4625356"/>
            <a:ext cx="1642375" cy="43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101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6640FD5-23D4-E148-9D14-43D71CA8D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8" y="4792290"/>
            <a:ext cx="243631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626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8229598" cy="6262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67777"/>
            <a:ext cx="5257800" cy="3068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6AFD79-82E1-C143-90F1-03BA0E48C0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1098224"/>
            <a:ext cx="5257801" cy="33655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75C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25E2E8B-6BA6-E640-B0AC-8515438170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9589" y="1098224"/>
            <a:ext cx="2737211" cy="2671663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E5C4D1F-DEC8-104F-A4DD-73A8A0E01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2811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637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8229598" cy="6262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67777"/>
            <a:ext cx="8229600" cy="3068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6AFD79-82E1-C143-90F1-03BA0E48C0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1098224"/>
            <a:ext cx="8229599" cy="33655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75C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2815943-AE4F-064C-8525-BBDDBB2F5B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509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2B8987A-82EB-D44E-9038-DC7BCDC8187D}"/>
              </a:ext>
            </a:extLst>
          </p:cNvPr>
          <p:cNvSpPr/>
          <p:nvPr userDrawn="1"/>
        </p:nvSpPr>
        <p:spPr>
          <a:xfrm>
            <a:off x="0" y="0"/>
            <a:ext cx="9140276" cy="5143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D71307-B703-F04A-BB8F-78E96B9B0C0D}"/>
              </a:ext>
            </a:extLst>
          </p:cNvPr>
          <p:cNvSpPr/>
          <p:nvPr userDrawn="1"/>
        </p:nvSpPr>
        <p:spPr>
          <a:xfrm>
            <a:off x="0" y="1413760"/>
            <a:ext cx="179882" cy="2300989"/>
          </a:xfrm>
          <a:prstGeom prst="rect">
            <a:avLst/>
          </a:prstGeom>
          <a:solidFill>
            <a:srgbClr val="38C6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0" y="2083842"/>
            <a:ext cx="7886700" cy="975814"/>
          </a:xfrm>
        </p:spPr>
        <p:txBody>
          <a:bodyPr anchor="ctr">
            <a:noAutofit/>
          </a:bodyPr>
          <a:lstStyle>
            <a:lvl1pPr algn="ctr">
              <a:defRPr sz="32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243FAE-C295-9F4A-81C0-AF1DDD2CE7C2}"/>
              </a:ext>
            </a:extLst>
          </p:cNvPr>
          <p:cNvSpPr/>
          <p:nvPr userDrawn="1"/>
        </p:nvSpPr>
        <p:spPr>
          <a:xfrm>
            <a:off x="662226" y="4837784"/>
            <a:ext cx="2976902" cy="18466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1 Lumen Technologies. All Rights Reserved. </a:t>
            </a:r>
          </a:p>
        </p:txBody>
      </p:sp>
      <p:pic>
        <p:nvPicPr>
          <p:cNvPr id="8" name="Picture 7" descr="A picture containing clock&#10;&#10;Description automatically generated">
            <a:extLst>
              <a:ext uri="{FF2B5EF4-FFF2-40B4-BE49-F238E27FC236}">
                <a16:creationId xmlns:a16="http://schemas.microsoft.com/office/drawing/2014/main" id="{62F6D15D-53D4-3F40-A3CC-476CB2680B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42162" y="4678477"/>
            <a:ext cx="1603374" cy="425385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A933E5F-76F0-DF4B-94B7-2B41A2CCB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1535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2B8987A-82EB-D44E-9038-DC7BCDC8187D}"/>
              </a:ext>
            </a:extLst>
          </p:cNvPr>
          <p:cNvSpPr/>
          <p:nvPr userDrawn="1"/>
        </p:nvSpPr>
        <p:spPr>
          <a:xfrm>
            <a:off x="0" y="0"/>
            <a:ext cx="9140276" cy="5143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D71307-B703-F04A-BB8F-78E96B9B0C0D}"/>
              </a:ext>
            </a:extLst>
          </p:cNvPr>
          <p:cNvSpPr/>
          <p:nvPr userDrawn="1"/>
        </p:nvSpPr>
        <p:spPr>
          <a:xfrm>
            <a:off x="-1" y="0"/>
            <a:ext cx="9140275" cy="5143500"/>
          </a:xfrm>
          <a:prstGeom prst="rect">
            <a:avLst/>
          </a:prstGeom>
          <a:solidFill>
            <a:srgbClr val="38C6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786" y="1873982"/>
            <a:ext cx="7886700" cy="975814"/>
          </a:xfrm>
        </p:spPr>
        <p:txBody>
          <a:bodyPr anchor="ctr">
            <a:noAutofit/>
          </a:bodyPr>
          <a:lstStyle>
            <a:lvl1pPr algn="ctr">
              <a:defRPr sz="32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0FB53-25B5-2246-80E1-D7D0211A0574}"/>
              </a:ext>
            </a:extLst>
          </p:cNvPr>
          <p:cNvSpPr/>
          <p:nvPr userDrawn="1"/>
        </p:nvSpPr>
        <p:spPr>
          <a:xfrm>
            <a:off x="662226" y="4837784"/>
            <a:ext cx="2976902" cy="18466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6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1 Lumen Technologies. All Rights Reserved. 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F7ADD47-AB10-294D-8E2F-DCAABCBB8F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40745" y="4678178"/>
            <a:ext cx="1642375" cy="435732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51932C2-B47E-164D-8378-7CABAAA1AB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763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69219"/>
            <a:ext cx="405765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544C97-B411-F444-ADCB-A3BBEBEAA3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8844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DA56276-1702-4851-8988-90F0719B55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6612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06" imgH="306" progId="TCLayout.ActiveDocument.1">
                  <p:embed/>
                </p:oleObj>
              </mc:Choice>
              <mc:Fallback>
                <p:oleObj name="think-cell Slide" r:id="rId20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DA56276-1702-4851-8988-90F0719B55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5760"/>
            <a:ext cx="8229600" cy="6262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166327"/>
            <a:ext cx="8229599" cy="3360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95BD6C-304F-6F4F-9AFA-F523AC7C70A4}"/>
              </a:ext>
            </a:extLst>
          </p:cNvPr>
          <p:cNvSpPr/>
          <p:nvPr userDrawn="1"/>
        </p:nvSpPr>
        <p:spPr>
          <a:xfrm>
            <a:off x="0" y="0"/>
            <a:ext cx="9144000" cy="18585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50AEAA-E9B2-FB44-A85F-75D7146FAACD}"/>
              </a:ext>
            </a:extLst>
          </p:cNvPr>
          <p:cNvSpPr/>
          <p:nvPr userDrawn="1"/>
        </p:nvSpPr>
        <p:spPr>
          <a:xfrm>
            <a:off x="662226" y="4837784"/>
            <a:ext cx="2976902" cy="18466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1 Lumen Technologies. All Rights Reserved. </a:t>
            </a:r>
          </a:p>
        </p:txBody>
      </p:sp>
      <p:pic>
        <p:nvPicPr>
          <p:cNvPr id="5" name="Picture 4" descr="A picture containing clock&#10;&#10;Description automatically generated">
            <a:extLst>
              <a:ext uri="{FF2B5EF4-FFF2-40B4-BE49-F238E27FC236}">
                <a16:creationId xmlns:a16="http://schemas.microsoft.com/office/drawing/2014/main" id="{380401D8-6A50-264D-AD48-DCB690ADCB12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442162" y="4678477"/>
            <a:ext cx="1603374" cy="425385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5ED3AEA-2592-574C-845C-D50182E180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9" y="4792290"/>
            <a:ext cx="39726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24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7" r:id="rId2"/>
    <p:sldLayoutId id="2147483678" r:id="rId3"/>
    <p:sldLayoutId id="2147483662" r:id="rId4"/>
    <p:sldLayoutId id="2147483672" r:id="rId5"/>
    <p:sldLayoutId id="2147483679" r:id="rId6"/>
    <p:sldLayoutId id="2147483663" r:id="rId7"/>
    <p:sldLayoutId id="2147483676" r:id="rId8"/>
    <p:sldLayoutId id="2147483664" r:id="rId9"/>
    <p:sldLayoutId id="2147483665" r:id="rId10"/>
    <p:sldLayoutId id="2147483666" r:id="rId11"/>
    <p:sldLayoutId id="2147483667" r:id="rId12"/>
    <p:sldLayoutId id="2147483675" r:id="rId13"/>
    <p:sldLayoutId id="2147483668" r:id="rId14"/>
    <p:sldLayoutId id="2147483669" r:id="rId15"/>
    <p:sldLayoutId id="2147483680" r:id="rId16"/>
    <p:sldLayoutId id="2147483681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69863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SzPct val="70000"/>
        <a:buFont typeface="Monaco" pitchFamily="2" charset="77"/>
        <a:buChar char="⎻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68275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SzPct val="90000"/>
        <a:buFont typeface="Arial" panose="020B0604020202020204" pitchFamily="34" charset="0"/>
        <a:buChar char="•"/>
        <a:tabLst/>
        <a:defRPr sz="1200" kern="1200">
          <a:solidFill>
            <a:sysClr val="windowText" lastClr="000000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SzPct val="90000"/>
        <a:buFont typeface="STIXGeneral-Regular" pitchFamily="2" charset="2"/>
        <a:buChar char="⎯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SzPct val="90000"/>
        <a:buFont typeface="STIXGeneral-Regular" pitchFamily="2" charset="2"/>
        <a:buChar char="⎯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.xml"/><Relationship Id="rId6" Type="http://schemas.openxmlformats.org/officeDocument/2006/relationships/hyperlink" Target="mailto:mary.davis@lumen.com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2C434E2-64B3-4E21-BAB9-BF0C37715B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9701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2C434E2-64B3-4E21-BAB9-BF0C37715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6BF9477-91F2-4E12-A14F-B6CA9178C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433686"/>
            <a:ext cx="7886700" cy="2257781"/>
          </a:xfrm>
        </p:spPr>
        <p:txBody>
          <a:bodyPr vert="horz"/>
          <a:lstStyle/>
          <a:p>
            <a:r>
              <a:rPr lang="es-CO" sz="3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T </a:t>
            </a:r>
            <a:r>
              <a:rPr lang="es-CO" sz="36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laybooks</a:t>
            </a:r>
            <a:r>
              <a:rPr lang="es-CO" sz="3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 </a:t>
            </a:r>
            <a:r>
              <a:rPr lang="es-CO" sz="36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inance-Bill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98CFD-8C86-4861-8FE2-0350A0AA8D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F6406-B3F2-AD48-99A2-24C88CF40A2E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1051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CA1C36-8945-4F11-AB2A-3EFEB66B88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CA1C36-8945-4F11-AB2A-3EFEB66B8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FA12F9C-D656-4078-89AD-E763E85B2B5F}"/>
              </a:ext>
            </a:extLst>
          </p:cNvPr>
          <p:cNvSpPr/>
          <p:nvPr/>
        </p:nvSpPr>
        <p:spPr>
          <a:xfrm>
            <a:off x="240323" y="635698"/>
            <a:ext cx="844647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High Level Process Description and Process Flow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04297A-D14C-4107-BB0A-E75555FCC428}"/>
              </a:ext>
            </a:extLst>
          </p:cNvPr>
          <p:cNvSpPr txBox="1">
            <a:spLocks/>
          </p:cNvSpPr>
          <p:nvPr/>
        </p:nvSpPr>
        <p:spPr>
          <a:xfrm>
            <a:off x="240323" y="866922"/>
            <a:ext cx="8433415" cy="189599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>
              <a:solidFill>
                <a:prstClr val="black"/>
              </a:solidFill>
              <a:latin typeface="Calibri" panose="020F0502020204030204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8659648"/>
              </p:ext>
            </p:extLst>
          </p:nvPr>
        </p:nvGraphicFramePr>
        <p:xfrm>
          <a:off x="7451850" y="220480"/>
          <a:ext cx="1577342" cy="3886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83836">
                  <a:extLst>
                    <a:ext uri="{9D8B030D-6E8A-4147-A177-3AD203B41FA5}">
                      <a16:colId xmlns:a16="http://schemas.microsoft.com/office/drawing/2014/main" val="2286335863"/>
                    </a:ext>
                  </a:extLst>
                </a:gridCol>
                <a:gridCol w="1093506">
                  <a:extLst>
                    <a:ext uri="{9D8B030D-6E8A-4147-A177-3AD203B41FA5}">
                      <a16:colId xmlns:a16="http://schemas.microsoft.com/office/drawing/2014/main" val="2738046577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wn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b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Lumen -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185252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 b="1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Us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Columbus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303084"/>
                  </a:ext>
                </a:extLst>
              </a:tr>
            </a:tbl>
          </a:graphicData>
        </a:graphic>
      </p:graphicFrame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E61AE93E-D4CB-432F-BDBA-64D231D2327C}"/>
              </a:ext>
            </a:extLst>
          </p:cNvPr>
          <p:cNvSpPr txBox="1">
            <a:spLocks/>
          </p:cNvSpPr>
          <p:nvPr/>
        </p:nvSpPr>
        <p:spPr>
          <a:xfrm>
            <a:off x="262440" y="4834494"/>
            <a:ext cx="397262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fld id="{16AF6406-B3F2-AD48-99A2-24C88CF40A2E}" type="slidenum">
              <a:rPr lang="en-US" sz="700">
                <a:solidFill>
                  <a:srgbClr val="EEEEEE">
                    <a:lumMod val="50000"/>
                  </a:srgbClr>
                </a:solidFill>
                <a:latin typeface="Arial" panose="020B0604020202020204"/>
              </a:rPr>
              <a:pPr defTabSz="457189"/>
              <a:t>2</a:t>
            </a:fld>
            <a:endParaRPr lang="en-US" sz="700">
              <a:solidFill>
                <a:srgbClr val="EEEEEE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EB8E24B-452C-487B-B03F-2D570E305C2D}"/>
              </a:ext>
            </a:extLst>
          </p:cNvPr>
          <p:cNvSpPr txBox="1">
            <a:spLocks/>
          </p:cNvSpPr>
          <p:nvPr/>
        </p:nvSpPr>
        <p:spPr>
          <a:xfrm>
            <a:off x="114807" y="267917"/>
            <a:ext cx="8571992" cy="33785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Billing IT Finance | EOP Flow - U</a:t>
            </a:r>
            <a:r>
              <a:rPr lang="es-AR" dirty="0"/>
              <a:t>sage rating/delivery </a:t>
            </a:r>
            <a:r>
              <a:rPr lang="es-AR" dirty="0" err="1"/>
              <a:t>to</a:t>
            </a:r>
            <a:r>
              <a:rPr lang="es-AR" dirty="0"/>
              <a:t> Kenan </a:t>
            </a:r>
            <a:endParaRPr lang="en-US" dirty="0"/>
          </a:p>
          <a:p>
            <a:pPr defTabSz="685783"/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EA9267-942B-4D68-9FA9-49087C4A5F12}"/>
              </a:ext>
            </a:extLst>
          </p:cNvPr>
          <p:cNvSpPr txBox="1"/>
          <p:nvPr/>
        </p:nvSpPr>
        <p:spPr>
          <a:xfrm>
            <a:off x="205702" y="864474"/>
            <a:ext cx="4418904" cy="1821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PL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(Product Lines for Telephony/Data) will download the usages per service instance collected during the month and insert the data into th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Rating engines (RE)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will extract the data from RE and the data is loaded into the </a:t>
            </a:r>
            <a:r>
              <a:rPr lang="en-US" sz="780" dirty="0" err="1">
                <a:solidFill>
                  <a:srgbClr val="000000"/>
                </a:solidFill>
                <a:latin typeface="Arial" panose="020B0604020202020204"/>
              </a:rPr>
              <a:t>the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corresponding stagging table. 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 graphical interfase (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TEC-GUI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) will be executed by 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to consume the usages stored in the corresponding table and insert them into an EOP stagging table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data extracted will be stored in the tabl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.L01_stagging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from where an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file with all the charges collected to be bill in the current period will be generated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Ones th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_File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s created (by the system)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insert the file into an FTP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Kenan IDC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consume the file directly from the FTP and load the usages to their corresponding BAN´s (based on the service instance that was used to collect the usages).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BAN bill cycle will be executed, billing all the charges available (Bill Cycle 3 &amp; 8)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f an error is faced during the insert of the Collaborations usages in RAW, 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PL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(Telephony) will contact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  <a:hlinkClick r:id="rId6"/>
              </a:rPr>
              <a:t>mary.davis@lumen.co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to ask for support via email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f an error is faced during the upload of any usage in EOP stagging table, 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will export the error log with the records and send the details to a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Factory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to analyze and fix those charges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8B09FF-15DE-4121-88AC-002562A3770E}"/>
              </a:ext>
            </a:extLst>
          </p:cNvPr>
          <p:cNvSpPr txBox="1"/>
          <p:nvPr/>
        </p:nvSpPr>
        <p:spPr>
          <a:xfrm>
            <a:off x="5715548" y="1003822"/>
            <a:ext cx="552075" cy="4742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685783">
              <a:defRPr sz="700"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 err="1">
                <a:solidFill>
                  <a:schemeClr val="tx1"/>
                </a:solidFill>
              </a:rPr>
              <a:t>LatAmIT</a:t>
            </a:r>
            <a:r>
              <a:rPr lang="en-US" dirty="0">
                <a:solidFill>
                  <a:schemeClr val="tx1"/>
                </a:solidFill>
              </a:rPr>
              <a:t>:</a:t>
            </a:r>
          </a:p>
          <a:p>
            <a:r>
              <a:rPr lang="en-US" dirty="0">
                <a:solidFill>
                  <a:schemeClr val="tx1"/>
                </a:solidFill>
              </a:rPr>
              <a:t>Import usages to EOP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D5247C1-3F50-4247-BDFA-87B979361AF5}"/>
              </a:ext>
            </a:extLst>
          </p:cNvPr>
          <p:cNvCxnSpPr>
            <a:cxnSpLocks/>
            <a:stCxn id="43" idx="3"/>
            <a:endCxn id="49" idx="1"/>
          </p:cNvCxnSpPr>
          <p:nvPr/>
        </p:nvCxnSpPr>
        <p:spPr>
          <a:xfrm flipV="1">
            <a:off x="6267623" y="1239721"/>
            <a:ext cx="202757" cy="12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F55E72BE-DD3B-449C-B1CD-0C4AD982C0A1}"/>
              </a:ext>
            </a:extLst>
          </p:cNvPr>
          <p:cNvGrpSpPr/>
          <p:nvPr/>
        </p:nvGrpSpPr>
        <p:grpSpPr>
          <a:xfrm>
            <a:off x="5946001" y="2530025"/>
            <a:ext cx="1604648" cy="133800"/>
            <a:chOff x="5685651" y="2466525"/>
            <a:chExt cx="1604648" cy="133800"/>
          </a:xfrm>
        </p:grpSpPr>
        <p:sp>
          <p:nvSpPr>
            <p:cNvPr id="91" name="Oval 51">
              <a:extLst>
                <a:ext uri="{FF2B5EF4-FFF2-40B4-BE49-F238E27FC236}">
                  <a16:creationId xmlns:a16="http://schemas.microsoft.com/office/drawing/2014/main" id="{EAB4EA1F-2438-4BF8-B2D7-0E38D830EBC1}"/>
                </a:ext>
              </a:extLst>
            </p:cNvPr>
            <p:cNvSpPr/>
            <p:nvPr/>
          </p:nvSpPr>
          <p:spPr>
            <a:xfrm>
              <a:off x="5685651" y="2466525"/>
              <a:ext cx="124711" cy="124711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2" name="Text Placeholder 2">
              <a:extLst>
                <a:ext uri="{FF2B5EF4-FFF2-40B4-BE49-F238E27FC236}">
                  <a16:creationId xmlns:a16="http://schemas.microsoft.com/office/drawing/2014/main" id="{2B58B4B6-C522-4AC1-AE92-71F5F4CFF5AC}"/>
                </a:ext>
              </a:extLst>
            </p:cNvPr>
            <p:cNvSpPr txBox="1">
              <a:spLocks/>
            </p:cNvSpPr>
            <p:nvPr/>
          </p:nvSpPr>
          <p:spPr>
            <a:xfrm>
              <a:off x="5748006" y="2505074"/>
              <a:ext cx="529910" cy="95251"/>
            </a:xfrm>
            <a:prstGeom prst="rect">
              <a:avLst/>
            </a:prstGeom>
            <a:noFill/>
            <a:ln>
              <a:noFill/>
            </a:ln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b="0" i="0" kern="1200">
                  <a:solidFill>
                    <a:srgbClr val="808284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en-US" sz="600" dirty="0">
                  <a:solidFill>
                    <a:prstClr val="black"/>
                  </a:solidFill>
                  <a:latin typeface="Calibri" panose="020F0502020204030204"/>
                </a:rPr>
                <a:t>Columbus</a:t>
              </a: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A2B0E343-FAD5-4A7F-B428-B8FF7B1F32CC}"/>
                </a:ext>
              </a:extLst>
            </p:cNvPr>
            <p:cNvSpPr/>
            <p:nvPr/>
          </p:nvSpPr>
          <p:spPr>
            <a:xfrm>
              <a:off x="6662426" y="2466530"/>
              <a:ext cx="124711" cy="124711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US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4" name="Text Placeholder 2">
              <a:extLst>
                <a:ext uri="{FF2B5EF4-FFF2-40B4-BE49-F238E27FC236}">
                  <a16:creationId xmlns:a16="http://schemas.microsoft.com/office/drawing/2014/main" id="{86D4A7AB-954E-4CB3-A424-5A654E9829D6}"/>
                </a:ext>
              </a:extLst>
            </p:cNvPr>
            <p:cNvSpPr txBox="1">
              <a:spLocks/>
            </p:cNvSpPr>
            <p:nvPr/>
          </p:nvSpPr>
          <p:spPr>
            <a:xfrm>
              <a:off x="6725205" y="2490442"/>
              <a:ext cx="565094" cy="83235"/>
            </a:xfrm>
            <a:prstGeom prst="rect">
              <a:avLst/>
            </a:prstGeom>
            <a:noFill/>
            <a:ln>
              <a:noFill/>
            </a:ln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b="0" i="0" kern="1200">
                  <a:solidFill>
                    <a:srgbClr val="808284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783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en-US" sz="600" dirty="0">
                  <a:solidFill>
                    <a:prstClr val="black"/>
                  </a:solidFill>
                  <a:latin typeface="Calibri" panose="020F0502020204030204"/>
                </a:rPr>
                <a:t>Lumen 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02F1AE6-1DF1-4712-846D-3FA59B0D9A87}"/>
              </a:ext>
            </a:extLst>
          </p:cNvPr>
          <p:cNvSpPr txBox="1"/>
          <p:nvPr/>
        </p:nvSpPr>
        <p:spPr>
          <a:xfrm>
            <a:off x="6470380" y="1002594"/>
            <a:ext cx="537372" cy="4742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685783">
              <a:defRPr sz="700"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 err="1">
                <a:solidFill>
                  <a:schemeClr val="tx1"/>
                </a:solidFill>
              </a:rPr>
              <a:t>LatAmIT</a:t>
            </a:r>
            <a:r>
              <a:rPr lang="en-US" dirty="0">
                <a:solidFill>
                  <a:schemeClr val="tx1"/>
                </a:solidFill>
              </a:rPr>
              <a:t>:</a:t>
            </a:r>
          </a:p>
          <a:p>
            <a:r>
              <a:rPr lang="en-US" dirty="0">
                <a:solidFill>
                  <a:schemeClr val="tx1"/>
                </a:solidFill>
              </a:rPr>
              <a:t>Generate L01 File in EOP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3F10579-0737-4E1A-ADC1-0D7DED3D0EA0}"/>
              </a:ext>
            </a:extLst>
          </p:cNvPr>
          <p:cNvGrpSpPr/>
          <p:nvPr/>
        </p:nvGrpSpPr>
        <p:grpSpPr>
          <a:xfrm>
            <a:off x="233865" y="2792061"/>
            <a:ext cx="8452934" cy="1982230"/>
            <a:chOff x="233865" y="2773011"/>
            <a:chExt cx="8452934" cy="198223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D728B08-679C-495A-ABE7-BAE0FFA54EF0}"/>
                </a:ext>
              </a:extLst>
            </p:cNvPr>
            <p:cNvSpPr/>
            <p:nvPr/>
          </p:nvSpPr>
          <p:spPr>
            <a:xfrm>
              <a:off x="3287696" y="2773011"/>
              <a:ext cx="2901766" cy="216877"/>
            </a:xfrm>
            <a:prstGeom prst="rect">
              <a:avLst/>
            </a:prstGeom>
            <a:solidFill>
              <a:srgbClr val="003B63"/>
            </a:solidFill>
            <a:ln>
              <a:solidFill>
                <a:srgbClr val="003B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1050">
                  <a:solidFill>
                    <a:prstClr val="white"/>
                  </a:solidFill>
                  <a:latin typeface="Calibri" panose="020F0502020204030204"/>
                  <a:ea typeface="Roboto Light" panose="02000000000000000000" pitchFamily="2" charset="0"/>
                </a:rPr>
                <a:t>Roles &amp; Actors (Key Users)</a:t>
              </a:r>
            </a:p>
          </p:txBody>
        </p:sp>
        <p:sp>
          <p:nvSpPr>
            <p:cNvPr id="15" name="Text Placeholder 2">
              <a:extLst>
                <a:ext uri="{FF2B5EF4-FFF2-40B4-BE49-F238E27FC236}">
                  <a16:creationId xmlns:a16="http://schemas.microsoft.com/office/drawing/2014/main" id="{42AD3635-6B1E-4D90-B610-6361BEFB04EA}"/>
                </a:ext>
              </a:extLst>
            </p:cNvPr>
            <p:cNvSpPr txBox="1">
              <a:spLocks/>
            </p:cNvSpPr>
            <p:nvPr/>
          </p:nvSpPr>
          <p:spPr>
            <a:xfrm>
              <a:off x="3287696" y="2994025"/>
              <a:ext cx="2901766" cy="612775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txBody>
            <a:bodyPr/>
            <a:lstStyle>
              <a:defPPr>
                <a:defRPr lang="en-US"/>
              </a:defPPr>
              <a:lvl1pPr marL="171450" indent="-171450" defTabSz="685800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600" b="0" i="0">
                  <a:solidFill>
                    <a:prstClr val="black"/>
                  </a:solidFill>
                  <a:latin typeface="Calibri" panose="020F0502020204030204"/>
                  <a:ea typeface="Roboto" panose="02000000000000000000" pitchFamily="2" charset="0"/>
                  <a:cs typeface="Roboto Light" panose="02000000000000000000" pitchFamily="2" charset="0"/>
                </a:defRPr>
              </a:lvl1pPr>
              <a:lvl2pPr marL="685800" indent="-228600" defTabSz="9144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b="1" i="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indent="0" defTabSz="9144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b="0" i="0"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3pPr>
              <a:lvl4pPr marL="1600200" indent="-228600" defTabSz="9144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indent="0" defTabSz="9144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b="0" i="0"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5pPr>
              <a:lvl6pPr marL="2514600" indent="-228600" defTabSz="9144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 defTabSz="9144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 defTabSz="9144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 defTabSz="9144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117472" indent="-117472" defTabSz="665550"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900" b="1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Columbus Owners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: Marcela </a:t>
              </a:r>
              <a:r>
                <a:rPr lang="en-US" sz="900" dirty="0" err="1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Cueli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/Guillermo Roncati/Ariel </a:t>
              </a:r>
              <a:r>
                <a:rPr lang="en-US" sz="900" dirty="0" err="1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Carloni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/Agustin </a:t>
              </a:r>
              <a:r>
                <a:rPr lang="en-US" sz="900" dirty="0" err="1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Speziale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/Sebastian Field/Maria de los Angeles Lobo</a:t>
              </a:r>
            </a:p>
            <a:p>
              <a:pPr marL="117472" indent="-117472" defTabSz="665550"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900" b="1" dirty="0" err="1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ResCo</a:t>
              </a:r>
              <a:r>
                <a:rPr lang="en-US" sz="900" b="1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 Owners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: Julie </a:t>
              </a:r>
              <a:r>
                <a:rPr lang="en-US" sz="900" dirty="0" err="1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Scarpella-coet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/Mary Davis</a:t>
              </a:r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1FC0D4B-86C5-47BE-988B-FBF421817AF9}"/>
                </a:ext>
              </a:extLst>
            </p:cNvPr>
            <p:cNvSpPr/>
            <p:nvPr/>
          </p:nvSpPr>
          <p:spPr>
            <a:xfrm>
              <a:off x="240323" y="2773198"/>
              <a:ext cx="3004520" cy="216878"/>
            </a:xfrm>
            <a:prstGeom prst="rect">
              <a:avLst/>
            </a:prstGeom>
            <a:solidFill>
              <a:srgbClr val="003B63"/>
            </a:solidFill>
            <a:ln>
              <a:solidFill>
                <a:srgbClr val="003B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1050" dirty="0">
                  <a:solidFill>
                    <a:prstClr val="white"/>
                  </a:solidFill>
                  <a:latin typeface="Calibri" panose="020F0502020204030204"/>
                  <a:ea typeface="Roboto Light" panose="02000000000000000000" pitchFamily="2" charset="0"/>
                </a:rPr>
                <a:t>Systems, Applications &amp; Tools Required</a:t>
              </a:r>
            </a:p>
          </p:txBody>
        </p:sp>
        <p:sp>
          <p:nvSpPr>
            <p:cNvPr id="22" name="Text Placeholder 2">
              <a:extLst>
                <a:ext uri="{FF2B5EF4-FFF2-40B4-BE49-F238E27FC236}">
                  <a16:creationId xmlns:a16="http://schemas.microsoft.com/office/drawing/2014/main" id="{26504CF4-20F7-4B5D-ABF7-AF170C5E95F0}"/>
                </a:ext>
              </a:extLst>
            </p:cNvPr>
            <p:cNvSpPr txBox="1">
              <a:spLocks/>
            </p:cNvSpPr>
            <p:nvPr/>
          </p:nvSpPr>
          <p:spPr>
            <a:xfrm>
              <a:off x="233865" y="3856526"/>
              <a:ext cx="3006971" cy="898715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b="0" i="0" kern="1200">
                  <a:solidFill>
                    <a:srgbClr val="808284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2" indent="-117472" defTabSz="665550">
                <a:lnSpc>
                  <a:spcPct val="8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s-AR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T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his process will keep flowing in the same way as it was working before the Day One</a:t>
              </a:r>
            </a:p>
            <a:p>
              <a:pPr marL="117472" indent="-117472" defTabSz="665550">
                <a:lnSpc>
                  <a:spcPct val="8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The </a:t>
              </a:r>
              <a:r>
                <a:rPr lang="en-US" sz="900" b="1" dirty="0" err="1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LatAm</a:t>
              </a:r>
              <a:r>
                <a:rPr lang="en-US" sz="900" b="1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 IT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 and </a:t>
              </a:r>
              <a:r>
                <a:rPr lang="en-US" sz="900" b="1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CFS Teams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 will keep having access to all the applications on Production and testing environments</a:t>
              </a:r>
            </a:p>
            <a:p>
              <a:pPr marL="117472" indent="-117472" defTabSz="665550">
                <a:lnSpc>
                  <a:spcPct val="8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The </a:t>
              </a:r>
              <a:r>
                <a:rPr lang="en-US" sz="800" b="1" dirty="0">
                  <a:solidFill>
                    <a:srgbClr val="000000"/>
                  </a:solidFill>
                  <a:latin typeface="Arial" panose="020B0604020202020204"/>
                </a:rPr>
                <a:t>CPPEEB-Billing Product &amp; Tax – Kenan and BCD Teams</a:t>
              </a:r>
              <a:r>
                <a:rPr lang="en-US" sz="900" b="1" dirty="0">
                  <a:solidFill>
                    <a:srgbClr val="000000"/>
                  </a:solidFill>
                  <a:latin typeface="Arial" panose="020B0604020202020204"/>
                </a:rPr>
                <a:t> 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</a:rPr>
                <a:t>will keep supporting </a:t>
              </a:r>
              <a:r>
                <a:rPr lang="en-US" sz="900" dirty="0" err="1">
                  <a:solidFill>
                    <a:srgbClr val="000000"/>
                  </a:solidFill>
                  <a:latin typeface="Arial" panose="020B0604020202020204"/>
                </a:rPr>
                <a:t>LatAm</a:t>
              </a: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</a:rPr>
                <a:t> in case of Errors.	</a:t>
              </a:r>
              <a:endParaRPr lang="en-US" sz="900" dirty="0">
                <a:solidFill>
                  <a:srgbClr val="000000"/>
                </a:solidFill>
                <a:latin typeface="Arial" panose="020B0604020202020204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CAB17E9-0817-4B73-94C4-473BD3F41B69}"/>
                </a:ext>
              </a:extLst>
            </p:cNvPr>
            <p:cNvSpPr/>
            <p:nvPr/>
          </p:nvSpPr>
          <p:spPr>
            <a:xfrm>
              <a:off x="240323" y="3636117"/>
              <a:ext cx="3000513" cy="216878"/>
            </a:xfrm>
            <a:prstGeom prst="rect">
              <a:avLst/>
            </a:prstGeom>
            <a:solidFill>
              <a:srgbClr val="003B63"/>
            </a:solidFill>
            <a:ln>
              <a:solidFill>
                <a:srgbClr val="003B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1050">
                  <a:solidFill>
                    <a:prstClr val="white"/>
                  </a:solidFill>
                  <a:latin typeface="Calibri" panose="020F0502020204030204"/>
                  <a:ea typeface="Roboto Light" panose="02000000000000000000" pitchFamily="2" charset="0"/>
                </a:rPr>
                <a:t>Key Assumptions (Rules of Engagement)</a:t>
              </a:r>
            </a:p>
          </p:txBody>
        </p:sp>
        <p:sp>
          <p:nvSpPr>
            <p:cNvPr id="51" name="Text Placeholder 2">
              <a:extLst>
                <a:ext uri="{FF2B5EF4-FFF2-40B4-BE49-F238E27FC236}">
                  <a16:creationId xmlns:a16="http://schemas.microsoft.com/office/drawing/2014/main" id="{C8F965E4-C46B-40E5-934E-AACE00FCDF28}"/>
                </a:ext>
              </a:extLst>
            </p:cNvPr>
            <p:cNvSpPr txBox="1">
              <a:spLocks/>
            </p:cNvSpPr>
            <p:nvPr/>
          </p:nvSpPr>
          <p:spPr>
            <a:xfrm>
              <a:off x="3287696" y="3860226"/>
              <a:ext cx="2901766" cy="892749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b="0" i="0" kern="1200">
                  <a:solidFill>
                    <a:srgbClr val="808284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RAW – BD+7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LEXM-RAW – BD+7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IRS – BD+7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OSSDB – BD+7 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WM WARE – BD+2</a:t>
              </a:r>
            </a:p>
            <a:p>
              <a:pPr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defRPr/>
              </a:pPr>
              <a:endParaRPr lang="en-US" sz="9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/>
                <a:cs typeface="+mn-cs"/>
              </a:endParaRPr>
            </a:p>
            <a:p>
              <a:pPr defTabSz="685783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US" sz="675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1CA8394-C619-4A15-A970-C0319C7A2F82}"/>
                </a:ext>
              </a:extLst>
            </p:cNvPr>
            <p:cNvSpPr/>
            <p:nvPr/>
          </p:nvSpPr>
          <p:spPr>
            <a:xfrm>
              <a:off x="3289391" y="3643848"/>
              <a:ext cx="2900070" cy="216878"/>
            </a:xfrm>
            <a:prstGeom prst="rect">
              <a:avLst/>
            </a:prstGeom>
            <a:solidFill>
              <a:srgbClr val="003B63"/>
            </a:solidFill>
            <a:ln>
              <a:solidFill>
                <a:srgbClr val="003B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1050">
                  <a:solidFill>
                    <a:prstClr val="white"/>
                  </a:solidFill>
                  <a:latin typeface="Calibri" panose="020F0502020204030204"/>
                  <a:ea typeface="Roboto Light" panose="02000000000000000000" pitchFamily="2" charset="0"/>
                </a:rPr>
                <a:t>Service Targets &amp; Commitments</a:t>
              </a:r>
            </a:p>
          </p:txBody>
        </p:sp>
        <p:sp>
          <p:nvSpPr>
            <p:cNvPr id="42" name="Text Placeholder 2">
              <a:extLst>
                <a:ext uri="{FF2B5EF4-FFF2-40B4-BE49-F238E27FC236}">
                  <a16:creationId xmlns:a16="http://schemas.microsoft.com/office/drawing/2014/main" id="{A327B052-FFDA-4917-A229-F34C2748DFC6}"/>
                </a:ext>
              </a:extLst>
            </p:cNvPr>
            <p:cNvSpPr txBox="1">
              <a:spLocks/>
            </p:cNvSpPr>
            <p:nvPr/>
          </p:nvSpPr>
          <p:spPr>
            <a:xfrm>
              <a:off x="6277916" y="2993414"/>
              <a:ext cx="2408883" cy="1759562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b="0" i="0" kern="1200">
                  <a:solidFill>
                    <a:srgbClr val="808284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defTabSz="665550">
                <a:lnSpc>
                  <a:spcPct val="80000"/>
                </a:lnSpc>
                <a:buClr>
                  <a:srgbClr val="0067B1"/>
                </a:buClr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If an error is faced during the insert of the Collaborations usages in RAW, the </a:t>
              </a:r>
              <a:r>
                <a:rPr lang="en-US" sz="750" b="1" dirty="0" err="1">
                  <a:solidFill>
                    <a:srgbClr val="000000"/>
                  </a:solidFill>
                  <a:latin typeface="Arial" panose="020B0604020202020204"/>
                </a:rPr>
                <a:t>LatAm</a:t>
              </a:r>
              <a:r>
                <a:rPr lang="en-US" sz="750" b="1" dirty="0">
                  <a:solidFill>
                    <a:srgbClr val="000000"/>
                  </a:solidFill>
                  <a:latin typeface="Arial" panose="020B0604020202020204"/>
                </a:rPr>
                <a:t> PL</a:t>
              </a: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 (Telephony) will contact </a:t>
              </a:r>
              <a:r>
                <a:rPr lang="en-US" sz="750" b="1" dirty="0">
                  <a:solidFill>
                    <a:srgbClr val="000000"/>
                  </a:solidFill>
                  <a:latin typeface="Arial" panose="020B0604020202020204"/>
                  <a:hlinkClick r:id="rId6"/>
                </a:rPr>
                <a:t>mary.davis@lumen.com</a:t>
              </a: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 to ask for support via email.</a:t>
              </a:r>
            </a:p>
            <a:p>
              <a:pPr marL="171450" indent="-171450" defTabSz="665550">
                <a:lnSpc>
                  <a:spcPct val="80000"/>
                </a:lnSpc>
                <a:buClr>
                  <a:srgbClr val="0067B1"/>
                </a:buClr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In case of any record with errors, the data is inserted in a log table from where </a:t>
              </a:r>
              <a:r>
                <a:rPr lang="en-US" sz="750" b="1" dirty="0" err="1">
                  <a:solidFill>
                    <a:srgbClr val="000000"/>
                  </a:solidFill>
                  <a:latin typeface="Arial" panose="020B0604020202020204"/>
                </a:rPr>
                <a:t>LatAm</a:t>
              </a:r>
              <a:r>
                <a:rPr lang="en-US" sz="750" b="1" dirty="0">
                  <a:solidFill>
                    <a:srgbClr val="000000"/>
                  </a:solidFill>
                  <a:latin typeface="Arial" panose="020B0604020202020204"/>
                </a:rPr>
                <a:t> IT support Team</a:t>
              </a: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 will send a report to a local factory via email to be analyzed and corrected in order to be billed in the current period.</a:t>
              </a:r>
              <a:endParaRPr lang="en-US" sz="750" b="1" dirty="0">
                <a:solidFill>
                  <a:srgbClr val="000000"/>
                </a:solidFill>
                <a:latin typeface="Arial" panose="020B0604020202020204"/>
              </a:endParaRPr>
            </a:p>
            <a:p>
              <a:pPr marL="171450" indent="-171450" defTabSz="665550">
                <a:lnSpc>
                  <a:spcPct val="80000"/>
                </a:lnSpc>
                <a:buClr>
                  <a:srgbClr val="0067B1"/>
                </a:buClr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If there would be any </a:t>
              </a:r>
              <a:r>
                <a:rPr lang="en-US" sz="750" b="1" dirty="0">
                  <a:solidFill>
                    <a:srgbClr val="000000"/>
                  </a:solidFill>
                  <a:latin typeface="Arial" panose="020B0604020202020204"/>
                </a:rPr>
                <a:t>Kenan error</a:t>
              </a: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, the </a:t>
              </a:r>
              <a:r>
                <a:rPr lang="en-US" sz="750" b="1" dirty="0" err="1">
                  <a:solidFill>
                    <a:srgbClr val="000000"/>
                  </a:solidFill>
                  <a:latin typeface="Arial" panose="020B0604020202020204"/>
                </a:rPr>
                <a:t>LatAm</a:t>
              </a:r>
              <a:r>
                <a:rPr lang="en-US" sz="750" b="1" dirty="0">
                  <a:solidFill>
                    <a:srgbClr val="000000"/>
                  </a:solidFill>
                  <a:latin typeface="Arial" panose="020B0604020202020204"/>
                </a:rPr>
                <a:t> IT support Team/CFS Team</a:t>
              </a: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 will request support from the </a:t>
              </a:r>
              <a:r>
                <a:rPr lang="en-US" sz="750" b="1" dirty="0">
                  <a:solidFill>
                    <a:srgbClr val="000000"/>
                  </a:solidFill>
                  <a:latin typeface="Arial" panose="020B0604020202020204"/>
                </a:rPr>
                <a:t>NA Billing Support Team </a:t>
              </a: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to set the usage charges as “no bill” and avoid billing errors during the </a:t>
              </a:r>
              <a:r>
                <a:rPr lang="en-US" sz="750" dirty="0" err="1">
                  <a:solidFill>
                    <a:srgbClr val="000000"/>
                  </a:solidFill>
                  <a:latin typeface="Arial" panose="020B0604020202020204"/>
                </a:rPr>
                <a:t>currect</a:t>
              </a:r>
              <a:r>
                <a:rPr lang="en-US" sz="750" dirty="0">
                  <a:solidFill>
                    <a:srgbClr val="000000"/>
                  </a:solidFill>
                  <a:latin typeface="Arial" panose="020B0604020202020204"/>
                </a:rPr>
                <a:t> bill cycle</a:t>
              </a:r>
            </a:p>
            <a:p>
              <a:pPr marL="171450" indent="-171450" defTabSz="665550">
                <a:lnSpc>
                  <a:spcPct val="80000"/>
                </a:lnSpc>
                <a:buClr>
                  <a:srgbClr val="0067B1"/>
                </a:buClr>
                <a:buFont typeface="Arial" panose="020B0604020202020204" pitchFamily="34" charset="0"/>
                <a:buChar char="•"/>
              </a:pPr>
              <a:endParaRPr lang="en-US" sz="750" dirty="0">
                <a:solidFill>
                  <a:srgbClr val="000000"/>
                </a:solidFill>
                <a:latin typeface="Arial" panose="020B0604020202020204"/>
              </a:endParaRPr>
            </a:p>
            <a:p>
              <a:pPr defTabSz="685783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US" sz="750" b="1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</a:endParaRPr>
            </a:p>
            <a:p>
              <a:pPr defTabSz="685783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US" sz="7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4DB131D-AA3B-49B2-8AF5-5467E2BD4242}"/>
                </a:ext>
              </a:extLst>
            </p:cNvPr>
            <p:cNvSpPr/>
            <p:nvPr/>
          </p:nvSpPr>
          <p:spPr>
            <a:xfrm>
              <a:off x="6277916" y="2773200"/>
              <a:ext cx="2408883" cy="216877"/>
            </a:xfrm>
            <a:prstGeom prst="rect">
              <a:avLst/>
            </a:prstGeom>
            <a:solidFill>
              <a:srgbClr val="003B63"/>
            </a:solidFill>
            <a:ln>
              <a:solidFill>
                <a:srgbClr val="003B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r>
                <a:rPr lang="en-US" sz="1050">
                  <a:solidFill>
                    <a:prstClr val="white"/>
                  </a:solidFill>
                  <a:latin typeface="Calibri" panose="020F0502020204030204"/>
                  <a:ea typeface="Roboto Light" panose="02000000000000000000" pitchFamily="2" charset="0"/>
                </a:rPr>
                <a:t>Escalation Path &amp; Error Handling</a:t>
              </a:r>
            </a:p>
          </p:txBody>
        </p:sp>
        <p:sp>
          <p:nvSpPr>
            <p:cNvPr id="64" name="Text Placeholder 2">
              <a:extLst>
                <a:ext uri="{FF2B5EF4-FFF2-40B4-BE49-F238E27FC236}">
                  <a16:creationId xmlns:a16="http://schemas.microsoft.com/office/drawing/2014/main" id="{D9DD3F04-C842-45A8-A4A1-507C69EFADF2}"/>
                </a:ext>
              </a:extLst>
            </p:cNvPr>
            <p:cNvSpPr txBox="1">
              <a:spLocks/>
            </p:cNvSpPr>
            <p:nvPr/>
          </p:nvSpPr>
          <p:spPr>
            <a:xfrm>
              <a:off x="233866" y="2993414"/>
              <a:ext cx="3010900" cy="605822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txBody>
            <a:bodyPr numCol="3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b="0" i="0" kern="1200">
                  <a:solidFill>
                    <a:srgbClr val="808284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Roboto Light" panose="02000000000000000000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1" i="0" kern="1200">
                  <a:solidFill>
                    <a:schemeClr val="tx2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RAW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LEXM-RAW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IRS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VM Ware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Conferencing Center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OSSDB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Haystack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Siebel 8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TEC - GUI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EOP</a:t>
              </a: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pt-BR" sz="700" dirty="0">
                  <a:solidFill>
                    <a:srgbClr val="000000"/>
                  </a:solidFill>
                  <a:latin typeface="Arial" panose="020B0604020202020204"/>
                  <a:cs typeface="+mn-cs"/>
                </a:rPr>
                <a:t>Kenan</a:t>
              </a:r>
            </a:p>
            <a:p>
              <a:pPr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defRPr/>
              </a:pPr>
              <a:endParaRPr lang="pt-BR" sz="700" dirty="0">
                <a:solidFill>
                  <a:srgbClr val="000000"/>
                </a:solidFill>
                <a:latin typeface="Arial" panose="020B0604020202020204"/>
                <a:cs typeface="+mn-cs"/>
              </a:endParaRPr>
            </a:p>
            <a:p>
              <a:pPr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defRPr/>
              </a:pPr>
              <a:endParaRPr lang="pt-BR" sz="700" dirty="0">
                <a:solidFill>
                  <a:srgbClr val="000000"/>
                </a:solidFill>
                <a:latin typeface="Arial" panose="020B0604020202020204"/>
                <a:cs typeface="+mn-cs"/>
              </a:endParaRP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endParaRPr lang="pt-BR" sz="700" dirty="0">
                <a:solidFill>
                  <a:srgbClr val="000000"/>
                </a:solidFill>
                <a:latin typeface="Arial" panose="020B0604020202020204"/>
                <a:cs typeface="+mn-cs"/>
              </a:endParaRPr>
            </a:p>
            <a:p>
              <a:pPr marL="117472" indent="-117472" defTabSz="665550">
                <a:lnSpc>
                  <a:spcPct val="100000"/>
                </a:lnSpc>
                <a:spcBef>
                  <a:spcPts val="0"/>
                </a:spcBef>
                <a:buClr>
                  <a:srgbClr val="0067B1"/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endParaRPr lang="pt-BR" sz="700" dirty="0">
                <a:solidFill>
                  <a:srgbClr val="000000"/>
                </a:solidFill>
                <a:latin typeface="Arial" panose="020B0604020202020204"/>
                <a:cs typeface="+mn-cs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0316B64C-1A57-4C65-A5A4-E3D40B34DBE0}"/>
              </a:ext>
            </a:extLst>
          </p:cNvPr>
          <p:cNvSpPr txBox="1"/>
          <p:nvPr/>
        </p:nvSpPr>
        <p:spPr>
          <a:xfrm>
            <a:off x="4572000" y="934650"/>
            <a:ext cx="543943" cy="4742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685783">
              <a:defRPr sz="1350">
                <a:solidFill>
                  <a:prstClr val="white"/>
                </a:solidFill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700" dirty="0" err="1">
                <a:solidFill>
                  <a:schemeClr val="tx1"/>
                </a:solidFill>
              </a:rPr>
              <a:t>LatAmPL</a:t>
            </a:r>
            <a:r>
              <a:rPr lang="en-US" sz="700" dirty="0">
                <a:solidFill>
                  <a:schemeClr val="tx1"/>
                </a:solidFill>
              </a:rPr>
              <a:t>: Insert usages to RE</a:t>
            </a:r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id="{E2BA626C-FFB6-4302-A74C-6CD4A38CB100}"/>
              </a:ext>
            </a:extLst>
          </p:cNvPr>
          <p:cNvSpPr/>
          <p:nvPr/>
        </p:nvSpPr>
        <p:spPr>
          <a:xfrm>
            <a:off x="4938218" y="1581259"/>
            <a:ext cx="765951" cy="366832"/>
          </a:xfrm>
          <a:prstGeom prst="diamond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/>
            <a:r>
              <a:rPr lang="es-AR" sz="6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Error?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CC240A3C-EED1-48D7-B07F-E9710DDDEC8F}"/>
              </a:ext>
            </a:extLst>
          </p:cNvPr>
          <p:cNvCxnSpPr>
            <a:stCxn id="11" idx="0"/>
            <a:endCxn id="43" idx="1"/>
          </p:cNvCxnSpPr>
          <p:nvPr/>
        </p:nvCxnSpPr>
        <p:spPr>
          <a:xfrm rot="5400000" flipH="1" flipV="1">
            <a:off x="5348217" y="1213928"/>
            <a:ext cx="340309" cy="39435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D6806352-CA50-48E6-A2A9-87BB62BEED8A}"/>
              </a:ext>
            </a:extLst>
          </p:cNvPr>
          <p:cNvSpPr txBox="1"/>
          <p:nvPr/>
        </p:nvSpPr>
        <p:spPr>
          <a:xfrm>
            <a:off x="5326541" y="1279714"/>
            <a:ext cx="98531" cy="100924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l"/>
            <a:r>
              <a:rPr lang="es-AR" sz="600" dirty="0"/>
              <a:t>no</a:t>
            </a:r>
            <a:endParaRPr lang="en-US" sz="600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B9233E0-C6B2-4128-B6BB-4E7B0DBB972E}"/>
              </a:ext>
            </a:extLst>
          </p:cNvPr>
          <p:cNvSpPr txBox="1"/>
          <p:nvPr/>
        </p:nvSpPr>
        <p:spPr>
          <a:xfrm>
            <a:off x="5618737" y="1983205"/>
            <a:ext cx="758263" cy="4293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685783">
              <a:defRPr sz="1350">
                <a:solidFill>
                  <a:prstClr val="white"/>
                </a:solidFill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700" dirty="0">
                <a:solidFill>
                  <a:schemeClr val="tx1"/>
                </a:solidFill>
              </a:rPr>
              <a:t>NA IT Support:</a:t>
            </a:r>
            <a:br>
              <a:rPr lang="en-US" sz="700" dirty="0">
                <a:solidFill>
                  <a:schemeClr val="tx1"/>
                </a:solidFill>
              </a:rPr>
            </a:br>
            <a:r>
              <a:rPr lang="en-US" sz="700" dirty="0">
                <a:solidFill>
                  <a:schemeClr val="tx1"/>
                </a:solidFill>
              </a:rPr>
              <a:t>Analyze and fix Collaboration usages in error</a:t>
            </a:r>
          </a:p>
        </p:txBody>
      </p: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3AF32C12-2632-40A4-8DD1-85574A1FC661}"/>
              </a:ext>
            </a:extLst>
          </p:cNvPr>
          <p:cNvCxnSpPr>
            <a:stCxn id="11" idx="2"/>
            <a:endCxn id="86" idx="1"/>
          </p:cNvCxnSpPr>
          <p:nvPr/>
        </p:nvCxnSpPr>
        <p:spPr>
          <a:xfrm rot="16200000" flipH="1">
            <a:off x="5345062" y="1924222"/>
            <a:ext cx="249807" cy="29754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E9BF9353-A900-48F2-80E7-B03A218C5D36}"/>
              </a:ext>
            </a:extLst>
          </p:cNvPr>
          <p:cNvSpPr txBox="1"/>
          <p:nvPr/>
        </p:nvSpPr>
        <p:spPr>
          <a:xfrm>
            <a:off x="5297331" y="2079814"/>
            <a:ext cx="98531" cy="100924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l"/>
            <a:r>
              <a:rPr lang="es-AR" sz="600" dirty="0"/>
              <a:t>yes</a:t>
            </a:r>
            <a:endParaRPr lang="en-US" sz="600" dirty="0"/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E9F3AD56-FD24-4338-A911-9180A150D4B3}"/>
              </a:ext>
            </a:extLst>
          </p:cNvPr>
          <p:cNvCxnSpPr>
            <a:cxnSpLocks/>
            <a:stCxn id="86" idx="0"/>
            <a:endCxn id="43" idx="2"/>
          </p:cNvCxnSpPr>
          <p:nvPr/>
        </p:nvCxnSpPr>
        <p:spPr>
          <a:xfrm flipH="1" flipV="1">
            <a:off x="5991586" y="1478077"/>
            <a:ext cx="6283" cy="50512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9B6EDB23-5718-4258-ABE2-BFCB6E71D3FC}"/>
              </a:ext>
            </a:extLst>
          </p:cNvPr>
          <p:cNvCxnSpPr>
            <a:cxnSpLocks/>
            <a:stCxn id="45" idx="2"/>
            <a:endCxn id="11" idx="1"/>
          </p:cNvCxnSpPr>
          <p:nvPr/>
        </p:nvCxnSpPr>
        <p:spPr>
          <a:xfrm rot="16200000" flipH="1">
            <a:off x="4713210" y="1539667"/>
            <a:ext cx="355770" cy="9424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Diamond 100">
            <a:extLst>
              <a:ext uri="{FF2B5EF4-FFF2-40B4-BE49-F238E27FC236}">
                <a16:creationId xmlns:a16="http://schemas.microsoft.com/office/drawing/2014/main" id="{608495AA-F651-45BD-A5A1-FC0C411852A0}"/>
              </a:ext>
            </a:extLst>
          </p:cNvPr>
          <p:cNvSpPr/>
          <p:nvPr/>
        </p:nvSpPr>
        <p:spPr>
          <a:xfrm>
            <a:off x="7204262" y="1047930"/>
            <a:ext cx="765951" cy="366832"/>
          </a:xfrm>
          <a:prstGeom prst="diamond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/>
            <a:r>
              <a:rPr lang="es-AR" sz="6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Error?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2DF8D4B0-F799-44B1-BF36-0DA2ABC96A1F}"/>
              </a:ext>
            </a:extLst>
          </p:cNvPr>
          <p:cNvCxnSpPr>
            <a:cxnSpLocks/>
            <a:stCxn id="49" idx="3"/>
            <a:endCxn id="101" idx="1"/>
          </p:cNvCxnSpPr>
          <p:nvPr/>
        </p:nvCxnSpPr>
        <p:spPr>
          <a:xfrm flipV="1">
            <a:off x="7007752" y="1231346"/>
            <a:ext cx="196510" cy="837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FA028AC1-BAC9-4EBA-962F-E1F2F4B737D3}"/>
              </a:ext>
            </a:extLst>
          </p:cNvPr>
          <p:cNvSpPr txBox="1"/>
          <p:nvPr/>
        </p:nvSpPr>
        <p:spPr>
          <a:xfrm>
            <a:off x="8138042" y="1166355"/>
            <a:ext cx="98531" cy="100924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l"/>
            <a:r>
              <a:rPr lang="es-AR" sz="600" dirty="0"/>
              <a:t>yes</a:t>
            </a:r>
            <a:endParaRPr lang="en-US" sz="600" dirty="0"/>
          </a:p>
        </p:txBody>
      </p: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64009C97-957D-486A-A289-699564E6B157}"/>
              </a:ext>
            </a:extLst>
          </p:cNvPr>
          <p:cNvCxnSpPr>
            <a:cxnSpLocks/>
            <a:stCxn id="101" idx="3"/>
            <a:endCxn id="110" idx="0"/>
          </p:cNvCxnSpPr>
          <p:nvPr/>
        </p:nvCxnSpPr>
        <p:spPr>
          <a:xfrm>
            <a:off x="7970213" y="1231346"/>
            <a:ext cx="320550" cy="17755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6FCBE493-118E-4A74-8A1E-43A057413E3B}"/>
              </a:ext>
            </a:extLst>
          </p:cNvPr>
          <p:cNvSpPr txBox="1"/>
          <p:nvPr/>
        </p:nvSpPr>
        <p:spPr>
          <a:xfrm>
            <a:off x="7907787" y="1408905"/>
            <a:ext cx="765951" cy="4742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685783">
              <a:defRPr sz="700"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 err="1">
                <a:solidFill>
                  <a:schemeClr val="tx1"/>
                </a:solidFill>
              </a:rPr>
              <a:t>LatAmIT</a:t>
            </a:r>
            <a:r>
              <a:rPr lang="en-US" dirty="0">
                <a:solidFill>
                  <a:schemeClr val="tx1"/>
                </a:solidFill>
              </a:rPr>
              <a:t>:</a:t>
            </a:r>
          </a:p>
          <a:p>
            <a:r>
              <a:rPr lang="en-US" dirty="0">
                <a:solidFill>
                  <a:schemeClr val="tx1"/>
                </a:solidFill>
              </a:rPr>
              <a:t>Extract report and send to </a:t>
            </a:r>
            <a:r>
              <a:rPr lang="en-US" dirty="0" err="1">
                <a:solidFill>
                  <a:schemeClr val="tx1"/>
                </a:solidFill>
              </a:rPr>
              <a:t>LatAm</a:t>
            </a:r>
            <a:r>
              <a:rPr lang="en-US" dirty="0">
                <a:solidFill>
                  <a:schemeClr val="tx1"/>
                </a:solidFill>
              </a:rPr>
              <a:t> Factory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5A0ED0A4-795A-4920-A9AA-229005DCED63}"/>
              </a:ext>
            </a:extLst>
          </p:cNvPr>
          <p:cNvSpPr txBox="1"/>
          <p:nvPr/>
        </p:nvSpPr>
        <p:spPr>
          <a:xfrm>
            <a:off x="7310951" y="1983205"/>
            <a:ext cx="537372" cy="4742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685783">
              <a:defRPr sz="700"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Kenan consume L01 from FTP</a:t>
            </a:r>
          </a:p>
        </p:txBody>
      </p: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F787FA2B-CB75-42B4-B7B0-075C72F94828}"/>
              </a:ext>
            </a:extLst>
          </p:cNvPr>
          <p:cNvCxnSpPr>
            <a:stCxn id="101" idx="2"/>
            <a:endCxn id="116" idx="0"/>
          </p:cNvCxnSpPr>
          <p:nvPr/>
        </p:nvCxnSpPr>
        <p:spPr>
          <a:xfrm flipH="1">
            <a:off x="7579637" y="1414762"/>
            <a:ext cx="7601" cy="56844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CAC9C988-A607-498C-98E2-2C07626E2B2C}"/>
              </a:ext>
            </a:extLst>
          </p:cNvPr>
          <p:cNvSpPr txBox="1"/>
          <p:nvPr/>
        </p:nvSpPr>
        <p:spPr>
          <a:xfrm>
            <a:off x="7433091" y="1659396"/>
            <a:ext cx="98531" cy="100924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algn="l"/>
            <a:r>
              <a:rPr lang="es-AR" sz="600" dirty="0"/>
              <a:t>no</a:t>
            </a:r>
            <a:endParaRPr lang="en-US" sz="600" dirty="0"/>
          </a:p>
        </p:txBody>
      </p:sp>
      <p:cxnSp>
        <p:nvCxnSpPr>
          <p:cNvPr id="124" name="Connector: Elbow 123">
            <a:extLst>
              <a:ext uri="{FF2B5EF4-FFF2-40B4-BE49-F238E27FC236}">
                <a16:creationId xmlns:a16="http://schemas.microsoft.com/office/drawing/2014/main" id="{C7E33E36-6825-44E7-8F3D-775F2AFA05E2}"/>
              </a:ext>
            </a:extLst>
          </p:cNvPr>
          <p:cNvCxnSpPr>
            <a:stCxn id="110" idx="2"/>
            <a:endCxn id="116" idx="3"/>
          </p:cNvCxnSpPr>
          <p:nvPr/>
        </p:nvCxnSpPr>
        <p:spPr>
          <a:xfrm rot="5400000">
            <a:off x="7900957" y="1830525"/>
            <a:ext cx="337173" cy="44244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3364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CA1C36-8945-4F11-AB2A-3EFEB66B88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CA1C36-8945-4F11-AB2A-3EFEB66B8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FA12F9C-D656-4078-89AD-E763E85B2B5F}"/>
              </a:ext>
            </a:extLst>
          </p:cNvPr>
          <p:cNvSpPr/>
          <p:nvPr/>
        </p:nvSpPr>
        <p:spPr>
          <a:xfrm>
            <a:off x="240323" y="635698"/>
            <a:ext cx="844647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High Level Process Description and Process Flow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AD3635-6B1E-4D90-B610-6361BEFB04EA}"/>
              </a:ext>
            </a:extLst>
          </p:cNvPr>
          <p:cNvSpPr txBox="1">
            <a:spLocks/>
          </p:cNvSpPr>
          <p:nvPr/>
        </p:nvSpPr>
        <p:spPr>
          <a:xfrm>
            <a:off x="3316271" y="2998474"/>
            <a:ext cx="2901766" cy="59825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defPPr>
              <a:defRPr lang="en-US"/>
            </a:defPPr>
            <a:lvl1pPr marL="171450" indent="-17145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b="0" i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olumbus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Guillermo Roncati/Maria de los Angeles Lobo</a:t>
            </a:r>
          </a:p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ResCo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N/A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28B08-679C-495A-ABE7-BAE0FFA54EF0}"/>
              </a:ext>
            </a:extLst>
          </p:cNvPr>
          <p:cNvSpPr/>
          <p:nvPr/>
        </p:nvSpPr>
        <p:spPr>
          <a:xfrm>
            <a:off x="3316271" y="2777839"/>
            <a:ext cx="290176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Roles &amp; Actors (Key Users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A8298CC-5E2E-4BAA-82D5-43D06129DD3C}"/>
              </a:ext>
            </a:extLst>
          </p:cNvPr>
          <p:cNvSpPr txBox="1">
            <a:spLocks/>
          </p:cNvSpPr>
          <p:nvPr/>
        </p:nvSpPr>
        <p:spPr>
          <a:xfrm>
            <a:off x="266447" y="2987373"/>
            <a:ext cx="3006971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FC0D4B-86C5-47BE-988B-FBF421817AF9}"/>
              </a:ext>
            </a:extLst>
          </p:cNvPr>
          <p:cNvSpPr/>
          <p:nvPr/>
        </p:nvSpPr>
        <p:spPr>
          <a:xfrm>
            <a:off x="266448" y="2773198"/>
            <a:ext cx="30069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ystems, Applications &amp; Tools Require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04297A-D14C-4107-BB0A-E75555FCC428}"/>
              </a:ext>
            </a:extLst>
          </p:cNvPr>
          <p:cNvSpPr txBox="1">
            <a:spLocks/>
          </p:cNvSpPr>
          <p:nvPr/>
        </p:nvSpPr>
        <p:spPr>
          <a:xfrm>
            <a:off x="240323" y="895498"/>
            <a:ext cx="8433415" cy="1765879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6504CF4-20F7-4B5D-ABF7-AF170C5E95F0}"/>
              </a:ext>
            </a:extLst>
          </p:cNvPr>
          <p:cNvSpPr txBox="1">
            <a:spLocks/>
          </p:cNvSpPr>
          <p:nvPr/>
        </p:nvSpPr>
        <p:spPr>
          <a:xfrm>
            <a:off x="262440" y="3818426"/>
            <a:ext cx="3006971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AR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his process will keep flowing in the same way as it was working before the Day One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LatAm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I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and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FS Team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will keep having access to all the applications on Production and testing environments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CPPEEB-Billing Product &amp; Tax – Kenan and BCD Teams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will keep supporting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 in case of Errors.	</a:t>
            </a:r>
            <a:endParaRPr lang="en-US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AB17E9-0817-4B73-94C4-473BD3F41B69}"/>
              </a:ext>
            </a:extLst>
          </p:cNvPr>
          <p:cNvSpPr/>
          <p:nvPr/>
        </p:nvSpPr>
        <p:spPr>
          <a:xfrm>
            <a:off x="267790" y="3636117"/>
            <a:ext cx="3001621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Key Assumptions (Rules of Engagement)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8F965E4-C46B-40E5-934E-AACE00FCDF28}"/>
              </a:ext>
            </a:extLst>
          </p:cNvPr>
          <p:cNvSpPr txBox="1">
            <a:spLocks/>
          </p:cNvSpPr>
          <p:nvPr/>
        </p:nvSpPr>
        <p:spPr>
          <a:xfrm>
            <a:off x="3316271" y="3860226"/>
            <a:ext cx="2901766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/>
                <a:cs typeface="+mn-cs"/>
              </a:rPr>
              <a:t>RAW – BD+7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/>
              <a:cs typeface="+mn-cs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CA8394-C619-4A15-A970-C0319C7A2F82}"/>
              </a:ext>
            </a:extLst>
          </p:cNvPr>
          <p:cNvSpPr/>
          <p:nvPr/>
        </p:nvSpPr>
        <p:spPr>
          <a:xfrm>
            <a:off x="3317966" y="3643848"/>
            <a:ext cx="29000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ervice Targets &amp; Commitment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27B052-FFDA-4917-A229-F34C2748DFC6}"/>
              </a:ext>
            </a:extLst>
          </p:cNvPr>
          <p:cNvSpPr txBox="1">
            <a:spLocks/>
          </p:cNvSpPr>
          <p:nvPr/>
        </p:nvSpPr>
        <p:spPr>
          <a:xfrm>
            <a:off x="6277916" y="3009951"/>
            <a:ext cx="2408883" cy="177756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n case of any record with errors, the data is inserted in the tabl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EOP.Fcarga_Telefonia_log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from wher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send a report with the data extracted to a local factory via email to be analyzed and corrected in order to be billed in the current period.</a:t>
            </a:r>
            <a:endParaRPr lang="en-US" sz="80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f there would be any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Kenan error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, th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/CFS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request support from 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NA Billing Support Team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to set the usage charges as “no bill” and avoid billing errors during the 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/>
              </a:rPr>
              <a:t>currect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bill cycle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Arial" panose="020B0604020202020204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4DB131D-AA3B-49B2-8AF5-5467E2BD4242}"/>
              </a:ext>
            </a:extLst>
          </p:cNvPr>
          <p:cNvSpPr/>
          <p:nvPr/>
        </p:nvSpPr>
        <p:spPr>
          <a:xfrm>
            <a:off x="6277916" y="2773200"/>
            <a:ext cx="2408883" cy="216877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Escalation Path &amp; Error Handling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451850" y="249055"/>
          <a:ext cx="1577342" cy="3886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83836">
                  <a:extLst>
                    <a:ext uri="{9D8B030D-6E8A-4147-A177-3AD203B41FA5}">
                      <a16:colId xmlns:a16="http://schemas.microsoft.com/office/drawing/2014/main" val="2286335863"/>
                    </a:ext>
                  </a:extLst>
                </a:gridCol>
                <a:gridCol w="1093506">
                  <a:extLst>
                    <a:ext uri="{9D8B030D-6E8A-4147-A177-3AD203B41FA5}">
                      <a16:colId xmlns:a16="http://schemas.microsoft.com/office/drawing/2014/main" val="2738046577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wn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b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Lumen -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185252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 b="1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Us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Columbus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303084"/>
                  </a:ext>
                </a:extLst>
              </a:tr>
            </a:tbl>
          </a:graphicData>
        </a:graphic>
      </p:graphicFrame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E61AE93E-D4CB-432F-BDBA-64D231D2327C}"/>
              </a:ext>
            </a:extLst>
          </p:cNvPr>
          <p:cNvSpPr txBox="1">
            <a:spLocks/>
          </p:cNvSpPr>
          <p:nvPr/>
        </p:nvSpPr>
        <p:spPr>
          <a:xfrm>
            <a:off x="262440" y="4834494"/>
            <a:ext cx="397262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fld id="{16AF6406-B3F2-AD48-99A2-24C88CF40A2E}" type="slidenum">
              <a:rPr lang="en-US" sz="700">
                <a:solidFill>
                  <a:srgbClr val="EEEEEE">
                    <a:lumMod val="50000"/>
                  </a:srgbClr>
                </a:solidFill>
                <a:latin typeface="Arial" panose="020B0604020202020204"/>
              </a:rPr>
              <a:pPr defTabSz="457189"/>
              <a:t>3</a:t>
            </a:fld>
            <a:endParaRPr lang="en-US" sz="700">
              <a:solidFill>
                <a:srgbClr val="EEEEEE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EB8E24B-452C-487B-B03F-2D570E305C2D}"/>
              </a:ext>
            </a:extLst>
          </p:cNvPr>
          <p:cNvSpPr txBox="1">
            <a:spLocks/>
          </p:cNvSpPr>
          <p:nvPr/>
        </p:nvSpPr>
        <p:spPr>
          <a:xfrm>
            <a:off x="114807" y="267917"/>
            <a:ext cx="8571992" cy="33785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Billing IT Finance | </a:t>
            </a:r>
            <a:r>
              <a:rPr lang="es-AR" dirty="0" err="1"/>
              <a:t>Usage</a:t>
            </a:r>
            <a:r>
              <a:rPr lang="es-AR" dirty="0"/>
              <a:t> rating/delivery </a:t>
            </a:r>
            <a:r>
              <a:rPr lang="es-AR" dirty="0" err="1"/>
              <a:t>to</a:t>
            </a:r>
            <a:r>
              <a:rPr lang="es-AR" dirty="0"/>
              <a:t> Kenan – RAW</a:t>
            </a:r>
            <a:endParaRPr lang="en-US" dirty="0"/>
          </a:p>
          <a:p>
            <a:pPr defTabSz="685783"/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EA9267-942B-4D68-9FA9-49087C4A5F12}"/>
              </a:ext>
            </a:extLst>
          </p:cNvPr>
          <p:cNvSpPr txBox="1"/>
          <p:nvPr/>
        </p:nvSpPr>
        <p:spPr>
          <a:xfrm>
            <a:off x="167602" y="864474"/>
            <a:ext cx="4418904" cy="14370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LATAM Telephony Product Owner will download the usages per service instance collected during the month and insert the data into RAW/LEXM-RAW Rating engines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will extract the data from RAW/LEXM-RAW and the data is loaded into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 graphical interfase (TEC-GUI) will be executed by 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to consume the usages stored in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nd insert them into an EOP stagging table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data extracted will be stored in the tabl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.L01_stagging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from where an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file with all the charges collected to be bill in the current period will be generated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Ones th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_File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s created (by the system)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insert the file into an FTP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Kenan IDC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consume the file directly from the FTP and load the usages to their corresponding BAN´s (based on the service instance that was used to collect the usages from RAW)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BAN bill cycle will be executed, billing all the charges available (Cycle L08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8B09FF-15DE-4121-88AC-002562A3770E}"/>
              </a:ext>
            </a:extLst>
          </p:cNvPr>
          <p:cNvSpPr txBox="1"/>
          <p:nvPr/>
        </p:nvSpPr>
        <p:spPr>
          <a:xfrm>
            <a:off x="5309684" y="1481491"/>
            <a:ext cx="552075" cy="3847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IT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algn="ctr" defTabSz="685783"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alyze request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6EF044-CD87-4855-A490-CBEDE489C72F}"/>
              </a:ext>
            </a:extLst>
          </p:cNvPr>
          <p:cNvSpPr txBox="1"/>
          <p:nvPr/>
        </p:nvSpPr>
        <p:spPr>
          <a:xfrm>
            <a:off x="5959546" y="1468653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574EB00-C328-426F-9D2A-9A8430F76816}"/>
              </a:ext>
            </a:extLst>
          </p:cNvPr>
          <p:cNvSpPr txBox="1"/>
          <p:nvPr/>
        </p:nvSpPr>
        <p:spPr>
          <a:xfrm>
            <a:off x="7249105" y="1527349"/>
            <a:ext cx="506931" cy="307777"/>
          </a:xfrm>
          <a:prstGeom prst="rect">
            <a:avLst/>
          </a:prstGeom>
          <a:solidFill>
            <a:schemeClr val="bg2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PI Planning 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D5247C1-3F50-4247-BDFA-87B979361AF5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>
            <a:off x="5861759" y="1673852"/>
            <a:ext cx="97787" cy="25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0103A53-BA7C-4376-AFA4-D975A1D18D79}"/>
              </a:ext>
            </a:extLst>
          </p:cNvPr>
          <p:cNvCxnSpPr>
            <a:cxnSpLocks/>
            <a:stCxn id="47" idx="3"/>
            <a:endCxn id="84" idx="1"/>
          </p:cNvCxnSpPr>
          <p:nvPr/>
        </p:nvCxnSpPr>
        <p:spPr>
          <a:xfrm flipV="1">
            <a:off x="7756036" y="1681057"/>
            <a:ext cx="159608" cy="1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C9E31383-E790-48D3-AA50-4BFFD5583FAB}"/>
              </a:ext>
            </a:extLst>
          </p:cNvPr>
          <p:cNvSpPr txBox="1"/>
          <p:nvPr/>
        </p:nvSpPr>
        <p:spPr>
          <a:xfrm>
            <a:off x="7915644" y="1427141"/>
            <a:ext cx="625252" cy="5078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IT NA to implement USs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7" name="TextBox 44">
            <a:extLst>
              <a:ext uri="{FF2B5EF4-FFF2-40B4-BE49-F238E27FC236}">
                <a16:creationId xmlns:a16="http://schemas.microsoft.com/office/drawing/2014/main" id="{C45E9215-213C-4DFF-86F3-A7EB91758D5C}"/>
              </a:ext>
            </a:extLst>
          </p:cNvPr>
          <p:cNvSpPr txBox="1"/>
          <p:nvPr/>
        </p:nvSpPr>
        <p:spPr>
          <a:xfrm>
            <a:off x="7972895" y="2031906"/>
            <a:ext cx="547833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lose Request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18AAB635-97F4-4A09-808F-60F42811C3C4}"/>
              </a:ext>
            </a:extLst>
          </p:cNvPr>
          <p:cNvCxnSpPr>
            <a:cxnSpLocks/>
            <a:stCxn id="84" idx="2"/>
            <a:endCxn id="85" idx="0"/>
          </p:cNvCxnSpPr>
          <p:nvPr/>
        </p:nvCxnSpPr>
        <p:spPr>
          <a:xfrm flipH="1">
            <a:off x="7462319" y="1934972"/>
            <a:ext cx="765951" cy="601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51">
            <a:extLst>
              <a:ext uri="{FF2B5EF4-FFF2-40B4-BE49-F238E27FC236}">
                <a16:creationId xmlns:a16="http://schemas.microsoft.com/office/drawing/2014/main" id="{EAB4EA1F-2438-4BF8-B2D7-0E38D830EBC1}"/>
              </a:ext>
            </a:extLst>
          </p:cNvPr>
          <p:cNvSpPr/>
          <p:nvPr/>
        </p:nvSpPr>
        <p:spPr>
          <a:xfrm>
            <a:off x="5685651" y="2466525"/>
            <a:ext cx="124711" cy="12471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2B58B4B6-C522-4AC1-AE92-71F5F4CFF5AC}"/>
              </a:ext>
            </a:extLst>
          </p:cNvPr>
          <p:cNvSpPr txBox="1">
            <a:spLocks/>
          </p:cNvSpPr>
          <p:nvPr/>
        </p:nvSpPr>
        <p:spPr>
          <a:xfrm>
            <a:off x="5748006" y="2505074"/>
            <a:ext cx="529910" cy="95251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Columbus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2B0E343-FAD5-4A7F-B428-B8FF7B1F32CC}"/>
              </a:ext>
            </a:extLst>
          </p:cNvPr>
          <p:cNvSpPr/>
          <p:nvPr/>
        </p:nvSpPr>
        <p:spPr>
          <a:xfrm>
            <a:off x="6662426" y="2466530"/>
            <a:ext cx="124711" cy="12471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6D4A7AB-954E-4CB3-A424-5A654E9829D6}"/>
              </a:ext>
            </a:extLst>
          </p:cNvPr>
          <p:cNvSpPr txBox="1">
            <a:spLocks/>
          </p:cNvSpPr>
          <p:nvPr/>
        </p:nvSpPr>
        <p:spPr>
          <a:xfrm>
            <a:off x="6725205" y="2490442"/>
            <a:ext cx="565094" cy="8323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Lumen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2F1AE6-1DF1-4712-846D-3FA59B0D9A87}"/>
              </a:ext>
            </a:extLst>
          </p:cNvPr>
          <p:cNvSpPr txBox="1"/>
          <p:nvPr/>
        </p:nvSpPr>
        <p:spPr>
          <a:xfrm>
            <a:off x="6600790" y="1473114"/>
            <a:ext cx="537372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Prioritize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543BEBC-DEED-4A77-97DB-FE5EDB1006ED}"/>
              </a:ext>
            </a:extLst>
          </p:cNvPr>
          <p:cNvCxnSpPr>
            <a:cxnSpLocks/>
            <a:stCxn id="49" idx="3"/>
            <a:endCxn id="47" idx="1"/>
          </p:cNvCxnSpPr>
          <p:nvPr/>
        </p:nvCxnSpPr>
        <p:spPr>
          <a:xfrm>
            <a:off x="7138162" y="1673169"/>
            <a:ext cx="110943" cy="80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9DD3F04-C842-45A8-A4A1-507C69EFADF2}"/>
              </a:ext>
            </a:extLst>
          </p:cNvPr>
          <p:cNvSpPr txBox="1">
            <a:spLocks/>
          </p:cNvSpPr>
          <p:nvPr/>
        </p:nvSpPr>
        <p:spPr>
          <a:xfrm>
            <a:off x="279632" y="2991194"/>
            <a:ext cx="2989945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numCol="3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RAW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TEC - GUI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EOP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Kenan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316B64C-1A57-4C65-A5A4-E3D40B34DBE0}"/>
              </a:ext>
            </a:extLst>
          </p:cNvPr>
          <p:cNvSpPr txBox="1"/>
          <p:nvPr/>
        </p:nvSpPr>
        <p:spPr>
          <a:xfrm>
            <a:off x="4681795" y="1465479"/>
            <a:ext cx="494373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Create Request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4D16EE3-809B-4E2D-9C6E-6F2CE7C68366}"/>
              </a:ext>
            </a:extLst>
          </p:cNvPr>
          <p:cNvCxnSpPr>
            <a:cxnSpLocks/>
            <a:endCxn id="43" idx="1"/>
          </p:cNvCxnSpPr>
          <p:nvPr/>
        </p:nvCxnSpPr>
        <p:spPr>
          <a:xfrm>
            <a:off x="5169818" y="1673228"/>
            <a:ext cx="139866" cy="6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9F1EDB9B-6DE0-4928-88A5-551B633BB91F}"/>
              </a:ext>
            </a:extLst>
          </p:cNvPr>
          <p:cNvSpPr/>
          <p:nvPr/>
        </p:nvSpPr>
        <p:spPr>
          <a:xfrm>
            <a:off x="7348226" y="2457005"/>
            <a:ext cx="124711" cy="124711"/>
          </a:xfrm>
          <a:prstGeom prst="ellipse">
            <a:avLst/>
          </a:prstGeom>
          <a:solidFill>
            <a:srgbClr val="E6E6E6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53696F6-59B2-46F0-B5FE-E528A05CCE18}"/>
              </a:ext>
            </a:extLst>
          </p:cNvPr>
          <p:cNvSpPr txBox="1">
            <a:spLocks/>
          </p:cNvSpPr>
          <p:nvPr/>
        </p:nvSpPr>
        <p:spPr>
          <a:xfrm>
            <a:off x="7409741" y="2470821"/>
            <a:ext cx="907639" cy="10010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Both 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29DDCB9-5141-44B3-A419-A244AB1D86BD}"/>
              </a:ext>
            </a:extLst>
          </p:cNvPr>
          <p:cNvCxnSpPr>
            <a:cxnSpLocks/>
            <a:stCxn id="44" idx="3"/>
            <a:endCxn id="49" idx="1"/>
          </p:cNvCxnSpPr>
          <p:nvPr/>
        </p:nvCxnSpPr>
        <p:spPr>
          <a:xfrm flipV="1">
            <a:off x="6496918" y="1673169"/>
            <a:ext cx="103872" cy="32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1DFBDE00-3889-4768-9F2E-C48DC0875F5F}"/>
              </a:ext>
            </a:extLst>
          </p:cNvPr>
          <p:cNvSpPr txBox="1"/>
          <p:nvPr/>
        </p:nvSpPr>
        <p:spPr>
          <a:xfrm>
            <a:off x="7193633" y="1995096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Test &amp; 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SignOff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DB20B90-48EB-4A4D-A6F9-9650F52DC745}"/>
              </a:ext>
            </a:extLst>
          </p:cNvPr>
          <p:cNvCxnSpPr>
            <a:cxnSpLocks/>
            <a:stCxn id="85" idx="3"/>
            <a:endCxn id="87" idx="1"/>
          </p:cNvCxnSpPr>
          <p:nvPr/>
        </p:nvCxnSpPr>
        <p:spPr>
          <a:xfrm flipV="1">
            <a:off x="7731005" y="2201183"/>
            <a:ext cx="241890" cy="16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83AB230A-2A1D-4A9C-8397-32EF2A5FC3FB}"/>
              </a:ext>
            </a:extLst>
          </p:cNvPr>
          <p:cNvSpPr txBox="1"/>
          <p:nvPr/>
        </p:nvSpPr>
        <p:spPr>
          <a:xfrm>
            <a:off x="5965790" y="93971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BOPs to provide BCM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1E83C8-4C1B-43E3-BC1E-694BC257BD05}"/>
              </a:ext>
            </a:extLst>
          </p:cNvPr>
          <p:cNvSpPr txBox="1"/>
          <p:nvPr/>
        </p:nvSpPr>
        <p:spPr>
          <a:xfrm>
            <a:off x="6600790" y="94606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s-AR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N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cy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to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8940FAC-B5A5-4781-99ED-C23C5455DCE3}"/>
              </a:ext>
            </a:extLst>
          </p:cNvPr>
          <p:cNvCxnSpPr>
            <a:cxnSpLocks/>
            <a:stCxn id="97" idx="3"/>
            <a:endCxn id="98" idx="1"/>
          </p:cNvCxnSpPr>
          <p:nvPr/>
        </p:nvCxnSpPr>
        <p:spPr>
          <a:xfrm>
            <a:off x="6503162" y="1147463"/>
            <a:ext cx="97628" cy="63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108F5C6-38BD-4677-9841-D44FFDB37744}"/>
              </a:ext>
            </a:extLst>
          </p:cNvPr>
          <p:cNvCxnSpPr>
            <a:cxnSpLocks/>
            <a:stCxn id="98" idx="2"/>
            <a:endCxn id="49" idx="0"/>
          </p:cNvCxnSpPr>
          <p:nvPr/>
        </p:nvCxnSpPr>
        <p:spPr>
          <a:xfrm>
            <a:off x="6869476" y="1361562"/>
            <a:ext cx="0" cy="1115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23544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CA1C36-8945-4F11-AB2A-3EFEB66B88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CA1C36-8945-4F11-AB2A-3EFEB66B8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FA12F9C-D656-4078-89AD-E763E85B2B5F}"/>
              </a:ext>
            </a:extLst>
          </p:cNvPr>
          <p:cNvSpPr/>
          <p:nvPr/>
        </p:nvSpPr>
        <p:spPr>
          <a:xfrm>
            <a:off x="240323" y="635698"/>
            <a:ext cx="844647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High Level Process Description and Process Flow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AD3635-6B1E-4D90-B610-6361BEFB04EA}"/>
              </a:ext>
            </a:extLst>
          </p:cNvPr>
          <p:cNvSpPr txBox="1">
            <a:spLocks/>
          </p:cNvSpPr>
          <p:nvPr/>
        </p:nvSpPr>
        <p:spPr>
          <a:xfrm>
            <a:off x="3316271" y="2998474"/>
            <a:ext cx="2901766" cy="601976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defPPr>
              <a:defRPr lang="en-US"/>
            </a:defPPr>
            <a:lvl1pPr marL="171450" indent="-17145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b="0" i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olumbus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Guillermo Roncati/Maria de los Angeles Lobo</a:t>
            </a:r>
          </a:p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ResCo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Julie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Scarpella-coe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/Mary Davis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28B08-679C-495A-ABE7-BAE0FFA54EF0}"/>
              </a:ext>
            </a:extLst>
          </p:cNvPr>
          <p:cNvSpPr/>
          <p:nvPr/>
        </p:nvSpPr>
        <p:spPr>
          <a:xfrm>
            <a:off x="3316271" y="2777839"/>
            <a:ext cx="290176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Roles &amp; Actors (Key Users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A8298CC-5E2E-4BAA-82D5-43D06129DD3C}"/>
              </a:ext>
            </a:extLst>
          </p:cNvPr>
          <p:cNvSpPr txBox="1">
            <a:spLocks/>
          </p:cNvSpPr>
          <p:nvPr/>
        </p:nvSpPr>
        <p:spPr>
          <a:xfrm>
            <a:off x="266447" y="2987373"/>
            <a:ext cx="3006971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FC0D4B-86C5-47BE-988B-FBF421817AF9}"/>
              </a:ext>
            </a:extLst>
          </p:cNvPr>
          <p:cNvSpPr/>
          <p:nvPr/>
        </p:nvSpPr>
        <p:spPr>
          <a:xfrm>
            <a:off x="266448" y="2773198"/>
            <a:ext cx="30069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ystems, Applications &amp; Tools Require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04297A-D14C-4107-BB0A-E75555FCC428}"/>
              </a:ext>
            </a:extLst>
          </p:cNvPr>
          <p:cNvSpPr txBox="1">
            <a:spLocks/>
          </p:cNvSpPr>
          <p:nvPr/>
        </p:nvSpPr>
        <p:spPr>
          <a:xfrm>
            <a:off x="240323" y="895498"/>
            <a:ext cx="8433415" cy="1765879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6504CF4-20F7-4B5D-ABF7-AF170C5E95F0}"/>
              </a:ext>
            </a:extLst>
          </p:cNvPr>
          <p:cNvSpPr txBox="1">
            <a:spLocks/>
          </p:cNvSpPr>
          <p:nvPr/>
        </p:nvSpPr>
        <p:spPr>
          <a:xfrm>
            <a:off x="262440" y="3818426"/>
            <a:ext cx="3006971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AR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his process will keep flowing in the same way as it was working before the Day One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LatAm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I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and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FS Team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will keep having access to all the applications on Production and testing environments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CPPEEB-Billing Product &amp; Tax – Kenan and BCD Teams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will keep supporting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 in case of Errors.	</a:t>
            </a:r>
            <a:endParaRPr lang="en-US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AB17E9-0817-4B73-94C4-473BD3F41B69}"/>
              </a:ext>
            </a:extLst>
          </p:cNvPr>
          <p:cNvSpPr/>
          <p:nvPr/>
        </p:nvSpPr>
        <p:spPr>
          <a:xfrm>
            <a:off x="267790" y="3636117"/>
            <a:ext cx="3001621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Key Assumptions (Rules of Engagement)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8F965E4-C46B-40E5-934E-AACE00FCDF28}"/>
              </a:ext>
            </a:extLst>
          </p:cNvPr>
          <p:cNvSpPr txBox="1">
            <a:spLocks/>
          </p:cNvSpPr>
          <p:nvPr/>
        </p:nvSpPr>
        <p:spPr>
          <a:xfrm>
            <a:off x="3316271" y="3869752"/>
            <a:ext cx="2901766" cy="84739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/>
                <a:cs typeface="+mn-cs"/>
              </a:rPr>
              <a:t>LEXM-RAW – BD+7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/>
              <a:cs typeface="+mn-cs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CA8394-C619-4A15-A970-C0319C7A2F82}"/>
              </a:ext>
            </a:extLst>
          </p:cNvPr>
          <p:cNvSpPr/>
          <p:nvPr/>
        </p:nvSpPr>
        <p:spPr>
          <a:xfrm>
            <a:off x="3317966" y="3643848"/>
            <a:ext cx="29000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ervice Targets &amp; Commitment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27B052-FFDA-4917-A229-F34C2748DFC6}"/>
              </a:ext>
            </a:extLst>
          </p:cNvPr>
          <p:cNvSpPr txBox="1">
            <a:spLocks/>
          </p:cNvSpPr>
          <p:nvPr/>
        </p:nvSpPr>
        <p:spPr>
          <a:xfrm>
            <a:off x="6277916" y="3009952"/>
            <a:ext cx="2408883" cy="170719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n case of any record with errors, the data is inserted in the tabl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EOP.Fcarga_Collaboration_log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from wher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send a report with the data extracted to a local factory via email to be analyzed and corrected in order to be billed in the current period.</a:t>
            </a:r>
            <a:endParaRPr lang="en-US" sz="80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f there would be any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Kenan error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, th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/CFS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request support from 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NA Billing Support Team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to set the usage charges as “no bill” and avoid billing errors during the 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/>
              </a:rPr>
              <a:t>currect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bill cycle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Arial" panose="020B0604020202020204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4DB131D-AA3B-49B2-8AF5-5467E2BD4242}"/>
              </a:ext>
            </a:extLst>
          </p:cNvPr>
          <p:cNvSpPr/>
          <p:nvPr/>
        </p:nvSpPr>
        <p:spPr>
          <a:xfrm>
            <a:off x="6277916" y="2773200"/>
            <a:ext cx="2408883" cy="216877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Escalation Path &amp; Error Handling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451850" y="249055"/>
          <a:ext cx="1577342" cy="3886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83836">
                  <a:extLst>
                    <a:ext uri="{9D8B030D-6E8A-4147-A177-3AD203B41FA5}">
                      <a16:colId xmlns:a16="http://schemas.microsoft.com/office/drawing/2014/main" val="2286335863"/>
                    </a:ext>
                  </a:extLst>
                </a:gridCol>
                <a:gridCol w="1093506">
                  <a:extLst>
                    <a:ext uri="{9D8B030D-6E8A-4147-A177-3AD203B41FA5}">
                      <a16:colId xmlns:a16="http://schemas.microsoft.com/office/drawing/2014/main" val="2738046577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wn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b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Lumen -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185252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 b="1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Us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Columbus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303084"/>
                  </a:ext>
                </a:extLst>
              </a:tr>
            </a:tbl>
          </a:graphicData>
        </a:graphic>
      </p:graphicFrame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E61AE93E-D4CB-432F-BDBA-64D231D2327C}"/>
              </a:ext>
            </a:extLst>
          </p:cNvPr>
          <p:cNvSpPr txBox="1">
            <a:spLocks/>
          </p:cNvSpPr>
          <p:nvPr/>
        </p:nvSpPr>
        <p:spPr>
          <a:xfrm>
            <a:off x="262440" y="4834494"/>
            <a:ext cx="397262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fld id="{16AF6406-B3F2-AD48-99A2-24C88CF40A2E}" type="slidenum">
              <a:rPr lang="en-US" sz="700">
                <a:solidFill>
                  <a:srgbClr val="EEEEEE">
                    <a:lumMod val="50000"/>
                  </a:srgbClr>
                </a:solidFill>
                <a:latin typeface="Arial" panose="020B0604020202020204"/>
              </a:rPr>
              <a:pPr defTabSz="457189"/>
              <a:t>4</a:t>
            </a:fld>
            <a:endParaRPr lang="en-US" sz="700">
              <a:solidFill>
                <a:srgbClr val="EEEEEE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EB8E24B-452C-487B-B03F-2D570E305C2D}"/>
              </a:ext>
            </a:extLst>
          </p:cNvPr>
          <p:cNvSpPr txBox="1">
            <a:spLocks/>
          </p:cNvSpPr>
          <p:nvPr/>
        </p:nvSpPr>
        <p:spPr>
          <a:xfrm>
            <a:off x="114807" y="267917"/>
            <a:ext cx="8571992" cy="33785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Billing IT Finance | </a:t>
            </a:r>
            <a:r>
              <a:rPr lang="es-AR" dirty="0" err="1"/>
              <a:t>Usage</a:t>
            </a:r>
            <a:r>
              <a:rPr lang="es-AR" dirty="0"/>
              <a:t> rating/delivery </a:t>
            </a:r>
            <a:r>
              <a:rPr lang="es-AR" dirty="0" err="1"/>
              <a:t>to</a:t>
            </a:r>
            <a:r>
              <a:rPr lang="es-AR" dirty="0"/>
              <a:t> Kenan – LEXM-RAW</a:t>
            </a:r>
            <a:endParaRPr lang="en-US" dirty="0"/>
          </a:p>
          <a:p>
            <a:pPr defTabSz="685783"/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EA9267-942B-4D68-9FA9-49087C4A5F12}"/>
              </a:ext>
            </a:extLst>
          </p:cNvPr>
          <p:cNvSpPr txBox="1"/>
          <p:nvPr/>
        </p:nvSpPr>
        <p:spPr>
          <a:xfrm>
            <a:off x="167602" y="864474"/>
            <a:ext cx="4418904" cy="14370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LATAM Telephony Product Owner will download the usages per service instance collected during the month and insert the data into LEXM-RAW Rating engines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will extract the data from LEXM-RAW and the data is loaded into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Collaboration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 graphical interfase (TEC-GUI) will be executed by 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to consume the usages stored in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Collaboration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nd insert them into an EOP stagging table 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data extracted will be stored in the tabl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.L01_stagging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from where an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file with all the charges collected to be bill in the current period will be generated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Ones th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_File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s created (by the system)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insert the file into an FTP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Kenan IDC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consume the file directly from the FTP and load the usages to their corresponding BAN´s (based on the service instance that was used to collect the usages from LEXM-RAW)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BAN bill cycle will be executed, billing all the charges available (Cycle L08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8B09FF-15DE-4121-88AC-002562A3770E}"/>
              </a:ext>
            </a:extLst>
          </p:cNvPr>
          <p:cNvSpPr txBox="1"/>
          <p:nvPr/>
        </p:nvSpPr>
        <p:spPr>
          <a:xfrm>
            <a:off x="5309684" y="1481491"/>
            <a:ext cx="552075" cy="3847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IT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algn="ctr" defTabSz="685783"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alyze request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6EF044-CD87-4855-A490-CBEDE489C72F}"/>
              </a:ext>
            </a:extLst>
          </p:cNvPr>
          <p:cNvSpPr txBox="1"/>
          <p:nvPr/>
        </p:nvSpPr>
        <p:spPr>
          <a:xfrm>
            <a:off x="5959546" y="1468653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574EB00-C328-426F-9D2A-9A8430F76816}"/>
              </a:ext>
            </a:extLst>
          </p:cNvPr>
          <p:cNvSpPr txBox="1"/>
          <p:nvPr/>
        </p:nvSpPr>
        <p:spPr>
          <a:xfrm>
            <a:off x="7249105" y="1527349"/>
            <a:ext cx="506931" cy="307777"/>
          </a:xfrm>
          <a:prstGeom prst="rect">
            <a:avLst/>
          </a:prstGeom>
          <a:solidFill>
            <a:schemeClr val="bg2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PI Planning 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D5247C1-3F50-4247-BDFA-87B979361AF5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>
            <a:off x="5861759" y="1673852"/>
            <a:ext cx="97787" cy="25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0103A53-BA7C-4376-AFA4-D975A1D18D79}"/>
              </a:ext>
            </a:extLst>
          </p:cNvPr>
          <p:cNvCxnSpPr>
            <a:cxnSpLocks/>
            <a:stCxn id="47" idx="3"/>
            <a:endCxn id="84" idx="1"/>
          </p:cNvCxnSpPr>
          <p:nvPr/>
        </p:nvCxnSpPr>
        <p:spPr>
          <a:xfrm flipV="1">
            <a:off x="7756036" y="1681057"/>
            <a:ext cx="159608" cy="1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C9E31383-E790-48D3-AA50-4BFFD5583FAB}"/>
              </a:ext>
            </a:extLst>
          </p:cNvPr>
          <p:cNvSpPr txBox="1"/>
          <p:nvPr/>
        </p:nvSpPr>
        <p:spPr>
          <a:xfrm>
            <a:off x="7915644" y="1427141"/>
            <a:ext cx="625252" cy="5078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IT NA to implement USs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7" name="TextBox 44">
            <a:extLst>
              <a:ext uri="{FF2B5EF4-FFF2-40B4-BE49-F238E27FC236}">
                <a16:creationId xmlns:a16="http://schemas.microsoft.com/office/drawing/2014/main" id="{C45E9215-213C-4DFF-86F3-A7EB91758D5C}"/>
              </a:ext>
            </a:extLst>
          </p:cNvPr>
          <p:cNvSpPr txBox="1"/>
          <p:nvPr/>
        </p:nvSpPr>
        <p:spPr>
          <a:xfrm>
            <a:off x="7972895" y="2031906"/>
            <a:ext cx="547833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lose Request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18AAB635-97F4-4A09-808F-60F42811C3C4}"/>
              </a:ext>
            </a:extLst>
          </p:cNvPr>
          <p:cNvCxnSpPr>
            <a:cxnSpLocks/>
            <a:stCxn id="84" idx="2"/>
            <a:endCxn id="85" idx="0"/>
          </p:cNvCxnSpPr>
          <p:nvPr/>
        </p:nvCxnSpPr>
        <p:spPr>
          <a:xfrm flipH="1">
            <a:off x="7462319" y="1934972"/>
            <a:ext cx="765951" cy="601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51">
            <a:extLst>
              <a:ext uri="{FF2B5EF4-FFF2-40B4-BE49-F238E27FC236}">
                <a16:creationId xmlns:a16="http://schemas.microsoft.com/office/drawing/2014/main" id="{EAB4EA1F-2438-4BF8-B2D7-0E38D830EBC1}"/>
              </a:ext>
            </a:extLst>
          </p:cNvPr>
          <p:cNvSpPr/>
          <p:nvPr/>
        </p:nvSpPr>
        <p:spPr>
          <a:xfrm>
            <a:off x="5685651" y="2466525"/>
            <a:ext cx="124711" cy="12471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2B58B4B6-C522-4AC1-AE92-71F5F4CFF5AC}"/>
              </a:ext>
            </a:extLst>
          </p:cNvPr>
          <p:cNvSpPr txBox="1">
            <a:spLocks/>
          </p:cNvSpPr>
          <p:nvPr/>
        </p:nvSpPr>
        <p:spPr>
          <a:xfrm>
            <a:off x="5748006" y="2505074"/>
            <a:ext cx="529910" cy="95251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Columbus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2B0E343-FAD5-4A7F-B428-B8FF7B1F32CC}"/>
              </a:ext>
            </a:extLst>
          </p:cNvPr>
          <p:cNvSpPr/>
          <p:nvPr/>
        </p:nvSpPr>
        <p:spPr>
          <a:xfrm>
            <a:off x="6662426" y="2466530"/>
            <a:ext cx="124711" cy="12471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6D4A7AB-954E-4CB3-A424-5A654E9829D6}"/>
              </a:ext>
            </a:extLst>
          </p:cNvPr>
          <p:cNvSpPr txBox="1">
            <a:spLocks/>
          </p:cNvSpPr>
          <p:nvPr/>
        </p:nvSpPr>
        <p:spPr>
          <a:xfrm>
            <a:off x="6725205" y="2490442"/>
            <a:ext cx="565094" cy="8323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Lumen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2F1AE6-1DF1-4712-846D-3FA59B0D9A87}"/>
              </a:ext>
            </a:extLst>
          </p:cNvPr>
          <p:cNvSpPr txBox="1"/>
          <p:nvPr/>
        </p:nvSpPr>
        <p:spPr>
          <a:xfrm>
            <a:off x="6600790" y="1473114"/>
            <a:ext cx="537372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Prioritize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543BEBC-DEED-4A77-97DB-FE5EDB1006ED}"/>
              </a:ext>
            </a:extLst>
          </p:cNvPr>
          <p:cNvCxnSpPr>
            <a:cxnSpLocks/>
            <a:stCxn id="49" idx="3"/>
            <a:endCxn id="47" idx="1"/>
          </p:cNvCxnSpPr>
          <p:nvPr/>
        </p:nvCxnSpPr>
        <p:spPr>
          <a:xfrm>
            <a:off x="7138162" y="1673169"/>
            <a:ext cx="110943" cy="80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9DD3F04-C842-45A8-A4A1-507C69EFADF2}"/>
              </a:ext>
            </a:extLst>
          </p:cNvPr>
          <p:cNvSpPr txBox="1">
            <a:spLocks/>
          </p:cNvSpPr>
          <p:nvPr/>
        </p:nvSpPr>
        <p:spPr>
          <a:xfrm>
            <a:off x="279632" y="2991194"/>
            <a:ext cx="2989945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numCol="3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LEXM-RAW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Conferencing center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TEC-GUI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EOP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Kenan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316B64C-1A57-4C65-A5A4-E3D40B34DBE0}"/>
              </a:ext>
            </a:extLst>
          </p:cNvPr>
          <p:cNvSpPr txBox="1"/>
          <p:nvPr/>
        </p:nvSpPr>
        <p:spPr>
          <a:xfrm>
            <a:off x="4681795" y="1465479"/>
            <a:ext cx="494373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Create Request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4D16EE3-809B-4E2D-9C6E-6F2CE7C68366}"/>
              </a:ext>
            </a:extLst>
          </p:cNvPr>
          <p:cNvCxnSpPr>
            <a:cxnSpLocks/>
            <a:endCxn id="43" idx="1"/>
          </p:cNvCxnSpPr>
          <p:nvPr/>
        </p:nvCxnSpPr>
        <p:spPr>
          <a:xfrm>
            <a:off x="5169818" y="1673228"/>
            <a:ext cx="139866" cy="6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9F1EDB9B-6DE0-4928-88A5-551B633BB91F}"/>
              </a:ext>
            </a:extLst>
          </p:cNvPr>
          <p:cNvSpPr/>
          <p:nvPr/>
        </p:nvSpPr>
        <p:spPr>
          <a:xfrm>
            <a:off x="7348226" y="2457005"/>
            <a:ext cx="124711" cy="124711"/>
          </a:xfrm>
          <a:prstGeom prst="ellipse">
            <a:avLst/>
          </a:prstGeom>
          <a:solidFill>
            <a:srgbClr val="E6E6E6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53696F6-59B2-46F0-B5FE-E528A05CCE18}"/>
              </a:ext>
            </a:extLst>
          </p:cNvPr>
          <p:cNvSpPr txBox="1">
            <a:spLocks/>
          </p:cNvSpPr>
          <p:nvPr/>
        </p:nvSpPr>
        <p:spPr>
          <a:xfrm>
            <a:off x="7409741" y="2470821"/>
            <a:ext cx="907639" cy="10010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Both 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29DDCB9-5141-44B3-A419-A244AB1D86BD}"/>
              </a:ext>
            </a:extLst>
          </p:cNvPr>
          <p:cNvCxnSpPr>
            <a:cxnSpLocks/>
            <a:stCxn id="44" idx="3"/>
            <a:endCxn id="49" idx="1"/>
          </p:cNvCxnSpPr>
          <p:nvPr/>
        </p:nvCxnSpPr>
        <p:spPr>
          <a:xfrm flipV="1">
            <a:off x="6496918" y="1673169"/>
            <a:ext cx="103872" cy="32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1DFBDE00-3889-4768-9F2E-C48DC0875F5F}"/>
              </a:ext>
            </a:extLst>
          </p:cNvPr>
          <p:cNvSpPr txBox="1"/>
          <p:nvPr/>
        </p:nvSpPr>
        <p:spPr>
          <a:xfrm>
            <a:off x="7193633" y="1995096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Test &amp; 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SignOff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DB20B90-48EB-4A4D-A6F9-9650F52DC745}"/>
              </a:ext>
            </a:extLst>
          </p:cNvPr>
          <p:cNvCxnSpPr>
            <a:cxnSpLocks/>
            <a:stCxn id="85" idx="3"/>
            <a:endCxn id="87" idx="1"/>
          </p:cNvCxnSpPr>
          <p:nvPr/>
        </p:nvCxnSpPr>
        <p:spPr>
          <a:xfrm flipV="1">
            <a:off x="7731005" y="2201183"/>
            <a:ext cx="241890" cy="16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83AB230A-2A1D-4A9C-8397-32EF2A5FC3FB}"/>
              </a:ext>
            </a:extLst>
          </p:cNvPr>
          <p:cNvSpPr txBox="1"/>
          <p:nvPr/>
        </p:nvSpPr>
        <p:spPr>
          <a:xfrm>
            <a:off x="5965790" y="93971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BOPs to provide BCM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1E83C8-4C1B-43E3-BC1E-694BC257BD05}"/>
              </a:ext>
            </a:extLst>
          </p:cNvPr>
          <p:cNvSpPr txBox="1"/>
          <p:nvPr/>
        </p:nvSpPr>
        <p:spPr>
          <a:xfrm>
            <a:off x="6600790" y="94606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s-AR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N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cy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to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8940FAC-B5A5-4781-99ED-C23C5455DCE3}"/>
              </a:ext>
            </a:extLst>
          </p:cNvPr>
          <p:cNvCxnSpPr>
            <a:cxnSpLocks/>
            <a:stCxn id="97" idx="3"/>
            <a:endCxn id="98" idx="1"/>
          </p:cNvCxnSpPr>
          <p:nvPr/>
        </p:nvCxnSpPr>
        <p:spPr>
          <a:xfrm>
            <a:off x="6503162" y="1147463"/>
            <a:ext cx="97628" cy="63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108F5C6-38BD-4677-9841-D44FFDB37744}"/>
              </a:ext>
            </a:extLst>
          </p:cNvPr>
          <p:cNvCxnSpPr>
            <a:cxnSpLocks/>
            <a:stCxn id="98" idx="2"/>
            <a:endCxn id="49" idx="0"/>
          </p:cNvCxnSpPr>
          <p:nvPr/>
        </p:nvCxnSpPr>
        <p:spPr>
          <a:xfrm>
            <a:off x="6869476" y="1361562"/>
            <a:ext cx="0" cy="1115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82610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CA1C36-8945-4F11-AB2A-3EFEB66B88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CA1C36-8945-4F11-AB2A-3EFEB66B8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FA12F9C-D656-4078-89AD-E763E85B2B5F}"/>
              </a:ext>
            </a:extLst>
          </p:cNvPr>
          <p:cNvSpPr/>
          <p:nvPr/>
        </p:nvSpPr>
        <p:spPr>
          <a:xfrm>
            <a:off x="240323" y="635698"/>
            <a:ext cx="844647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High Level Process Description and Process Flow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AD3635-6B1E-4D90-B610-6361BEFB04EA}"/>
              </a:ext>
            </a:extLst>
          </p:cNvPr>
          <p:cNvSpPr txBox="1">
            <a:spLocks/>
          </p:cNvSpPr>
          <p:nvPr/>
        </p:nvSpPr>
        <p:spPr>
          <a:xfrm>
            <a:off x="3316271" y="3017524"/>
            <a:ext cx="2901766" cy="59825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defPPr>
              <a:defRPr lang="en-US"/>
            </a:defPPr>
            <a:lvl1pPr marL="171450" indent="-17145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b="0" i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olumbus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Ariel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Carloni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/Maria de los Angeles Lobo</a:t>
            </a:r>
          </a:p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ResCo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N/A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28B08-679C-495A-ABE7-BAE0FFA54EF0}"/>
              </a:ext>
            </a:extLst>
          </p:cNvPr>
          <p:cNvSpPr/>
          <p:nvPr/>
        </p:nvSpPr>
        <p:spPr>
          <a:xfrm>
            <a:off x="3316271" y="2777839"/>
            <a:ext cx="290176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Roles &amp; Actors (Key Users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A8298CC-5E2E-4BAA-82D5-43D06129DD3C}"/>
              </a:ext>
            </a:extLst>
          </p:cNvPr>
          <p:cNvSpPr txBox="1">
            <a:spLocks/>
          </p:cNvSpPr>
          <p:nvPr/>
        </p:nvSpPr>
        <p:spPr>
          <a:xfrm>
            <a:off x="266447" y="2987373"/>
            <a:ext cx="3006971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FC0D4B-86C5-47BE-988B-FBF421817AF9}"/>
              </a:ext>
            </a:extLst>
          </p:cNvPr>
          <p:cNvSpPr/>
          <p:nvPr/>
        </p:nvSpPr>
        <p:spPr>
          <a:xfrm>
            <a:off x="266448" y="2773198"/>
            <a:ext cx="30069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ystems, Applications &amp; Tools Require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04297A-D14C-4107-BB0A-E75555FCC428}"/>
              </a:ext>
            </a:extLst>
          </p:cNvPr>
          <p:cNvSpPr txBox="1">
            <a:spLocks/>
          </p:cNvSpPr>
          <p:nvPr/>
        </p:nvSpPr>
        <p:spPr>
          <a:xfrm>
            <a:off x="240323" y="895498"/>
            <a:ext cx="8433415" cy="1765879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6504CF4-20F7-4B5D-ABF7-AF170C5E95F0}"/>
              </a:ext>
            </a:extLst>
          </p:cNvPr>
          <p:cNvSpPr txBox="1">
            <a:spLocks/>
          </p:cNvSpPr>
          <p:nvPr/>
        </p:nvSpPr>
        <p:spPr>
          <a:xfrm>
            <a:off x="262440" y="3818426"/>
            <a:ext cx="3006971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AR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his process will keep flowing in the same way as it was working before the Day One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LatAm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I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and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FS Team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will keep having access to all the applications on Production and testing environments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CPPEEB-Billing Product &amp; Tax – Kenan and BCD Teams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will keep supporting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 in case of Errors.	</a:t>
            </a:r>
            <a:endParaRPr lang="en-US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AB17E9-0817-4B73-94C4-473BD3F41B69}"/>
              </a:ext>
            </a:extLst>
          </p:cNvPr>
          <p:cNvSpPr/>
          <p:nvPr/>
        </p:nvSpPr>
        <p:spPr>
          <a:xfrm>
            <a:off x="267790" y="3636117"/>
            <a:ext cx="3001621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Key Assumptions (Rules of Engagement)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8F965E4-C46B-40E5-934E-AACE00FCDF28}"/>
              </a:ext>
            </a:extLst>
          </p:cNvPr>
          <p:cNvSpPr txBox="1">
            <a:spLocks/>
          </p:cNvSpPr>
          <p:nvPr/>
        </p:nvSpPr>
        <p:spPr>
          <a:xfrm>
            <a:off x="3316271" y="3888801"/>
            <a:ext cx="2901766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/>
                <a:cs typeface="+mn-cs"/>
              </a:rPr>
              <a:t>IRS – BD+7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/>
              <a:cs typeface="+mn-cs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CA8394-C619-4A15-A970-C0319C7A2F82}"/>
              </a:ext>
            </a:extLst>
          </p:cNvPr>
          <p:cNvSpPr/>
          <p:nvPr/>
        </p:nvSpPr>
        <p:spPr>
          <a:xfrm>
            <a:off x="3317966" y="3643848"/>
            <a:ext cx="29000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ervice Targets &amp; Commitment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27B052-FFDA-4917-A229-F34C2748DFC6}"/>
              </a:ext>
            </a:extLst>
          </p:cNvPr>
          <p:cNvSpPr txBox="1">
            <a:spLocks/>
          </p:cNvSpPr>
          <p:nvPr/>
        </p:nvSpPr>
        <p:spPr>
          <a:xfrm>
            <a:off x="6277916" y="3009951"/>
            <a:ext cx="2408883" cy="177756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n case of any record with errors, the data is inserted in the tabl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EOP.Interconexion_log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from wher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send a report with the data extracted to a local factory via email to be analyzed and corrected in order to be billed in the current period.</a:t>
            </a:r>
            <a:endParaRPr lang="en-US" sz="80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f there would be any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Kenan error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, th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/CFS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request support from 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NA Billing Support Team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to set the usage charges as “no bill” and avoid billing errors during the 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/>
              </a:rPr>
              <a:t>currect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bill cycle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Arial" panose="020B0604020202020204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4DB131D-AA3B-49B2-8AF5-5467E2BD4242}"/>
              </a:ext>
            </a:extLst>
          </p:cNvPr>
          <p:cNvSpPr/>
          <p:nvPr/>
        </p:nvSpPr>
        <p:spPr>
          <a:xfrm>
            <a:off x="6277916" y="2773200"/>
            <a:ext cx="2408883" cy="216877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Escalation Path &amp; Error Handling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451850" y="249055"/>
          <a:ext cx="1577342" cy="3886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83836">
                  <a:extLst>
                    <a:ext uri="{9D8B030D-6E8A-4147-A177-3AD203B41FA5}">
                      <a16:colId xmlns:a16="http://schemas.microsoft.com/office/drawing/2014/main" val="2286335863"/>
                    </a:ext>
                  </a:extLst>
                </a:gridCol>
                <a:gridCol w="1093506">
                  <a:extLst>
                    <a:ext uri="{9D8B030D-6E8A-4147-A177-3AD203B41FA5}">
                      <a16:colId xmlns:a16="http://schemas.microsoft.com/office/drawing/2014/main" val="2738046577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wn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b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Lumen -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185252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 b="1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Us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Columbus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303084"/>
                  </a:ext>
                </a:extLst>
              </a:tr>
            </a:tbl>
          </a:graphicData>
        </a:graphic>
      </p:graphicFrame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E61AE93E-D4CB-432F-BDBA-64D231D2327C}"/>
              </a:ext>
            </a:extLst>
          </p:cNvPr>
          <p:cNvSpPr txBox="1">
            <a:spLocks/>
          </p:cNvSpPr>
          <p:nvPr/>
        </p:nvSpPr>
        <p:spPr>
          <a:xfrm>
            <a:off x="262440" y="4834494"/>
            <a:ext cx="397262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fld id="{16AF6406-B3F2-AD48-99A2-24C88CF40A2E}" type="slidenum">
              <a:rPr lang="en-US" sz="700">
                <a:solidFill>
                  <a:srgbClr val="EEEEEE">
                    <a:lumMod val="50000"/>
                  </a:srgbClr>
                </a:solidFill>
                <a:latin typeface="Arial" panose="020B0604020202020204"/>
              </a:rPr>
              <a:pPr defTabSz="457189"/>
              <a:t>5</a:t>
            </a:fld>
            <a:endParaRPr lang="en-US" sz="700">
              <a:solidFill>
                <a:srgbClr val="EEEEEE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EB8E24B-452C-487B-B03F-2D570E305C2D}"/>
              </a:ext>
            </a:extLst>
          </p:cNvPr>
          <p:cNvSpPr txBox="1">
            <a:spLocks/>
          </p:cNvSpPr>
          <p:nvPr/>
        </p:nvSpPr>
        <p:spPr>
          <a:xfrm>
            <a:off x="114807" y="267917"/>
            <a:ext cx="8571992" cy="33785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Billing IT Finance | </a:t>
            </a:r>
            <a:r>
              <a:rPr lang="es-AR" dirty="0" err="1"/>
              <a:t>Usage</a:t>
            </a:r>
            <a:r>
              <a:rPr lang="es-AR" dirty="0"/>
              <a:t> rating/delivery </a:t>
            </a:r>
            <a:r>
              <a:rPr lang="es-AR" dirty="0" err="1"/>
              <a:t>to</a:t>
            </a:r>
            <a:r>
              <a:rPr lang="es-AR" dirty="0"/>
              <a:t> Kenan – IRS</a:t>
            </a:r>
            <a:endParaRPr lang="en-US" dirty="0"/>
          </a:p>
          <a:p>
            <a:pPr defTabSz="685783"/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EA9267-942B-4D68-9FA9-49087C4A5F12}"/>
              </a:ext>
            </a:extLst>
          </p:cNvPr>
          <p:cNvSpPr txBox="1"/>
          <p:nvPr/>
        </p:nvSpPr>
        <p:spPr>
          <a:xfrm>
            <a:off x="167602" y="864474"/>
            <a:ext cx="4418904" cy="14370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LATAM Telephony Product Owner will download the usages per service instance collected during the month and insert the data into IRS Rating engines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will extract the data from IRS and the data is loaded into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EOP.Interconexion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 graphical interfase (TEC-GUI) will be executed by 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to consume the usages stored in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EOP.Interconexion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nd insert them into an EOP stagging table 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data extracted will be stored in the tabl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.L01_stagging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from where an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file with all the charges collected to be bill in the current period will be generated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Ones th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_File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s created (by the system)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insert the file into an FTP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Kenan IDC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consume the file directly from the FTP and load the usages to their corresponding BAN´s (based on the service instance that was used to collect the usages from IRS)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BAN bill cycle will be executed, billing all the charges available (Cycle L08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8B09FF-15DE-4121-88AC-002562A3770E}"/>
              </a:ext>
            </a:extLst>
          </p:cNvPr>
          <p:cNvSpPr txBox="1"/>
          <p:nvPr/>
        </p:nvSpPr>
        <p:spPr>
          <a:xfrm>
            <a:off x="5309684" y="1481491"/>
            <a:ext cx="552075" cy="3847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IT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algn="ctr" defTabSz="685783"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alyze request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6EF044-CD87-4855-A490-CBEDE489C72F}"/>
              </a:ext>
            </a:extLst>
          </p:cNvPr>
          <p:cNvSpPr txBox="1"/>
          <p:nvPr/>
        </p:nvSpPr>
        <p:spPr>
          <a:xfrm>
            <a:off x="5959546" y="1468653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574EB00-C328-426F-9D2A-9A8430F76816}"/>
              </a:ext>
            </a:extLst>
          </p:cNvPr>
          <p:cNvSpPr txBox="1"/>
          <p:nvPr/>
        </p:nvSpPr>
        <p:spPr>
          <a:xfrm>
            <a:off x="7249105" y="1527349"/>
            <a:ext cx="506931" cy="307777"/>
          </a:xfrm>
          <a:prstGeom prst="rect">
            <a:avLst/>
          </a:prstGeom>
          <a:solidFill>
            <a:schemeClr val="bg2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PI Planning 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D5247C1-3F50-4247-BDFA-87B979361AF5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>
            <a:off x="5861759" y="1673852"/>
            <a:ext cx="97787" cy="25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0103A53-BA7C-4376-AFA4-D975A1D18D79}"/>
              </a:ext>
            </a:extLst>
          </p:cNvPr>
          <p:cNvCxnSpPr>
            <a:cxnSpLocks/>
            <a:stCxn id="47" idx="3"/>
            <a:endCxn id="84" idx="1"/>
          </p:cNvCxnSpPr>
          <p:nvPr/>
        </p:nvCxnSpPr>
        <p:spPr>
          <a:xfrm flipV="1">
            <a:off x="7756036" y="1681057"/>
            <a:ext cx="159608" cy="1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C9E31383-E790-48D3-AA50-4BFFD5583FAB}"/>
              </a:ext>
            </a:extLst>
          </p:cNvPr>
          <p:cNvSpPr txBox="1"/>
          <p:nvPr/>
        </p:nvSpPr>
        <p:spPr>
          <a:xfrm>
            <a:off x="7915644" y="1427141"/>
            <a:ext cx="625252" cy="5078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IT NA to implement USs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7" name="TextBox 44">
            <a:extLst>
              <a:ext uri="{FF2B5EF4-FFF2-40B4-BE49-F238E27FC236}">
                <a16:creationId xmlns:a16="http://schemas.microsoft.com/office/drawing/2014/main" id="{C45E9215-213C-4DFF-86F3-A7EB91758D5C}"/>
              </a:ext>
            </a:extLst>
          </p:cNvPr>
          <p:cNvSpPr txBox="1"/>
          <p:nvPr/>
        </p:nvSpPr>
        <p:spPr>
          <a:xfrm>
            <a:off x="7972895" y="2031906"/>
            <a:ext cx="547833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lose Request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18AAB635-97F4-4A09-808F-60F42811C3C4}"/>
              </a:ext>
            </a:extLst>
          </p:cNvPr>
          <p:cNvCxnSpPr>
            <a:cxnSpLocks/>
            <a:stCxn id="84" idx="2"/>
            <a:endCxn id="85" idx="0"/>
          </p:cNvCxnSpPr>
          <p:nvPr/>
        </p:nvCxnSpPr>
        <p:spPr>
          <a:xfrm flipH="1">
            <a:off x="7462319" y="1934972"/>
            <a:ext cx="765951" cy="601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51">
            <a:extLst>
              <a:ext uri="{FF2B5EF4-FFF2-40B4-BE49-F238E27FC236}">
                <a16:creationId xmlns:a16="http://schemas.microsoft.com/office/drawing/2014/main" id="{EAB4EA1F-2438-4BF8-B2D7-0E38D830EBC1}"/>
              </a:ext>
            </a:extLst>
          </p:cNvPr>
          <p:cNvSpPr/>
          <p:nvPr/>
        </p:nvSpPr>
        <p:spPr>
          <a:xfrm>
            <a:off x="5685651" y="2466525"/>
            <a:ext cx="124711" cy="12471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2B58B4B6-C522-4AC1-AE92-71F5F4CFF5AC}"/>
              </a:ext>
            </a:extLst>
          </p:cNvPr>
          <p:cNvSpPr txBox="1">
            <a:spLocks/>
          </p:cNvSpPr>
          <p:nvPr/>
        </p:nvSpPr>
        <p:spPr>
          <a:xfrm>
            <a:off x="5748006" y="2505074"/>
            <a:ext cx="529910" cy="95251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Columbus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2B0E343-FAD5-4A7F-B428-B8FF7B1F32CC}"/>
              </a:ext>
            </a:extLst>
          </p:cNvPr>
          <p:cNvSpPr/>
          <p:nvPr/>
        </p:nvSpPr>
        <p:spPr>
          <a:xfrm>
            <a:off x="6662426" y="2466530"/>
            <a:ext cx="124711" cy="12471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6D4A7AB-954E-4CB3-A424-5A654E9829D6}"/>
              </a:ext>
            </a:extLst>
          </p:cNvPr>
          <p:cNvSpPr txBox="1">
            <a:spLocks/>
          </p:cNvSpPr>
          <p:nvPr/>
        </p:nvSpPr>
        <p:spPr>
          <a:xfrm>
            <a:off x="6725205" y="2490442"/>
            <a:ext cx="565094" cy="8323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Lumen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2F1AE6-1DF1-4712-846D-3FA59B0D9A87}"/>
              </a:ext>
            </a:extLst>
          </p:cNvPr>
          <p:cNvSpPr txBox="1"/>
          <p:nvPr/>
        </p:nvSpPr>
        <p:spPr>
          <a:xfrm>
            <a:off x="6600790" y="1473114"/>
            <a:ext cx="537372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Prioritize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543BEBC-DEED-4A77-97DB-FE5EDB1006ED}"/>
              </a:ext>
            </a:extLst>
          </p:cNvPr>
          <p:cNvCxnSpPr>
            <a:cxnSpLocks/>
            <a:stCxn id="49" idx="3"/>
            <a:endCxn id="47" idx="1"/>
          </p:cNvCxnSpPr>
          <p:nvPr/>
        </p:nvCxnSpPr>
        <p:spPr>
          <a:xfrm>
            <a:off x="7138162" y="1673169"/>
            <a:ext cx="110943" cy="80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9DD3F04-C842-45A8-A4A1-507C69EFADF2}"/>
              </a:ext>
            </a:extLst>
          </p:cNvPr>
          <p:cNvSpPr txBox="1">
            <a:spLocks/>
          </p:cNvSpPr>
          <p:nvPr/>
        </p:nvSpPr>
        <p:spPr>
          <a:xfrm>
            <a:off x="270107" y="2991194"/>
            <a:ext cx="2989945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numCol="3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IRS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TEC-GUI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EOP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Kenan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316B64C-1A57-4C65-A5A4-E3D40B34DBE0}"/>
              </a:ext>
            </a:extLst>
          </p:cNvPr>
          <p:cNvSpPr txBox="1"/>
          <p:nvPr/>
        </p:nvSpPr>
        <p:spPr>
          <a:xfrm>
            <a:off x="4681795" y="1465479"/>
            <a:ext cx="494373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Create Request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4D16EE3-809B-4E2D-9C6E-6F2CE7C68366}"/>
              </a:ext>
            </a:extLst>
          </p:cNvPr>
          <p:cNvCxnSpPr>
            <a:cxnSpLocks/>
            <a:endCxn id="43" idx="1"/>
          </p:cNvCxnSpPr>
          <p:nvPr/>
        </p:nvCxnSpPr>
        <p:spPr>
          <a:xfrm>
            <a:off x="5169818" y="1673228"/>
            <a:ext cx="139866" cy="6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9F1EDB9B-6DE0-4928-88A5-551B633BB91F}"/>
              </a:ext>
            </a:extLst>
          </p:cNvPr>
          <p:cNvSpPr/>
          <p:nvPr/>
        </p:nvSpPr>
        <p:spPr>
          <a:xfrm>
            <a:off x="7348226" y="2457005"/>
            <a:ext cx="124711" cy="124711"/>
          </a:xfrm>
          <a:prstGeom prst="ellipse">
            <a:avLst/>
          </a:prstGeom>
          <a:solidFill>
            <a:srgbClr val="E6E6E6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53696F6-59B2-46F0-B5FE-E528A05CCE18}"/>
              </a:ext>
            </a:extLst>
          </p:cNvPr>
          <p:cNvSpPr txBox="1">
            <a:spLocks/>
          </p:cNvSpPr>
          <p:nvPr/>
        </p:nvSpPr>
        <p:spPr>
          <a:xfrm>
            <a:off x="7409741" y="2470821"/>
            <a:ext cx="907639" cy="10010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Both 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29DDCB9-5141-44B3-A419-A244AB1D86BD}"/>
              </a:ext>
            </a:extLst>
          </p:cNvPr>
          <p:cNvCxnSpPr>
            <a:cxnSpLocks/>
            <a:stCxn id="44" idx="3"/>
            <a:endCxn id="49" idx="1"/>
          </p:cNvCxnSpPr>
          <p:nvPr/>
        </p:nvCxnSpPr>
        <p:spPr>
          <a:xfrm flipV="1">
            <a:off x="6496918" y="1673169"/>
            <a:ext cx="103872" cy="32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1DFBDE00-3889-4768-9F2E-C48DC0875F5F}"/>
              </a:ext>
            </a:extLst>
          </p:cNvPr>
          <p:cNvSpPr txBox="1"/>
          <p:nvPr/>
        </p:nvSpPr>
        <p:spPr>
          <a:xfrm>
            <a:off x="7193633" y="1995096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Test &amp; 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SignOff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DB20B90-48EB-4A4D-A6F9-9650F52DC745}"/>
              </a:ext>
            </a:extLst>
          </p:cNvPr>
          <p:cNvCxnSpPr>
            <a:cxnSpLocks/>
            <a:stCxn id="85" idx="3"/>
            <a:endCxn id="87" idx="1"/>
          </p:cNvCxnSpPr>
          <p:nvPr/>
        </p:nvCxnSpPr>
        <p:spPr>
          <a:xfrm flipV="1">
            <a:off x="7731005" y="2201183"/>
            <a:ext cx="241890" cy="16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83AB230A-2A1D-4A9C-8397-32EF2A5FC3FB}"/>
              </a:ext>
            </a:extLst>
          </p:cNvPr>
          <p:cNvSpPr txBox="1"/>
          <p:nvPr/>
        </p:nvSpPr>
        <p:spPr>
          <a:xfrm>
            <a:off x="5965790" y="93971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BOPs to provide BCM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1E83C8-4C1B-43E3-BC1E-694BC257BD05}"/>
              </a:ext>
            </a:extLst>
          </p:cNvPr>
          <p:cNvSpPr txBox="1"/>
          <p:nvPr/>
        </p:nvSpPr>
        <p:spPr>
          <a:xfrm>
            <a:off x="6600790" y="94606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s-AR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N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cy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to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8940FAC-B5A5-4781-99ED-C23C5455DCE3}"/>
              </a:ext>
            </a:extLst>
          </p:cNvPr>
          <p:cNvCxnSpPr>
            <a:cxnSpLocks/>
            <a:stCxn id="97" idx="3"/>
            <a:endCxn id="98" idx="1"/>
          </p:cNvCxnSpPr>
          <p:nvPr/>
        </p:nvCxnSpPr>
        <p:spPr>
          <a:xfrm>
            <a:off x="6503162" y="1147463"/>
            <a:ext cx="97628" cy="63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108F5C6-38BD-4677-9841-D44FFDB37744}"/>
              </a:ext>
            </a:extLst>
          </p:cNvPr>
          <p:cNvCxnSpPr>
            <a:cxnSpLocks/>
            <a:stCxn id="98" idx="2"/>
            <a:endCxn id="49" idx="0"/>
          </p:cNvCxnSpPr>
          <p:nvPr/>
        </p:nvCxnSpPr>
        <p:spPr>
          <a:xfrm>
            <a:off x="6869476" y="1361562"/>
            <a:ext cx="0" cy="1115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8330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CA1C36-8945-4F11-AB2A-3EFEB66B88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CA1C36-8945-4F11-AB2A-3EFEB66B8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FA12F9C-D656-4078-89AD-E763E85B2B5F}"/>
              </a:ext>
            </a:extLst>
          </p:cNvPr>
          <p:cNvSpPr/>
          <p:nvPr/>
        </p:nvSpPr>
        <p:spPr>
          <a:xfrm>
            <a:off x="240323" y="635698"/>
            <a:ext cx="844647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High Level Process Description and Process Flow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AD3635-6B1E-4D90-B610-6361BEFB04EA}"/>
              </a:ext>
            </a:extLst>
          </p:cNvPr>
          <p:cNvSpPr txBox="1">
            <a:spLocks/>
          </p:cNvSpPr>
          <p:nvPr/>
        </p:nvSpPr>
        <p:spPr>
          <a:xfrm>
            <a:off x="3316271" y="3017524"/>
            <a:ext cx="2901766" cy="59825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defPPr>
              <a:defRPr lang="en-US"/>
            </a:defPPr>
            <a:lvl1pPr marL="171450" indent="-17145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b="0" i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olumbus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Marcela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Cueli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/Maria de los Angeles Lobo</a:t>
            </a:r>
          </a:p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ResCo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N/A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28B08-679C-495A-ABE7-BAE0FFA54EF0}"/>
              </a:ext>
            </a:extLst>
          </p:cNvPr>
          <p:cNvSpPr/>
          <p:nvPr/>
        </p:nvSpPr>
        <p:spPr>
          <a:xfrm>
            <a:off x="3316271" y="2777839"/>
            <a:ext cx="290176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Roles &amp; Actors (Key Users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A8298CC-5E2E-4BAA-82D5-43D06129DD3C}"/>
              </a:ext>
            </a:extLst>
          </p:cNvPr>
          <p:cNvSpPr txBox="1">
            <a:spLocks/>
          </p:cNvSpPr>
          <p:nvPr/>
        </p:nvSpPr>
        <p:spPr>
          <a:xfrm>
            <a:off x="266447" y="2987373"/>
            <a:ext cx="3006971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FC0D4B-86C5-47BE-988B-FBF421817AF9}"/>
              </a:ext>
            </a:extLst>
          </p:cNvPr>
          <p:cNvSpPr/>
          <p:nvPr/>
        </p:nvSpPr>
        <p:spPr>
          <a:xfrm>
            <a:off x="266448" y="2773198"/>
            <a:ext cx="30069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ystems, Applications &amp; Tools Require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04297A-D14C-4107-BB0A-E75555FCC428}"/>
              </a:ext>
            </a:extLst>
          </p:cNvPr>
          <p:cNvSpPr txBox="1">
            <a:spLocks/>
          </p:cNvSpPr>
          <p:nvPr/>
        </p:nvSpPr>
        <p:spPr>
          <a:xfrm>
            <a:off x="240323" y="895498"/>
            <a:ext cx="8433415" cy="1765879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6504CF4-20F7-4B5D-ABF7-AF170C5E95F0}"/>
              </a:ext>
            </a:extLst>
          </p:cNvPr>
          <p:cNvSpPr txBox="1">
            <a:spLocks/>
          </p:cNvSpPr>
          <p:nvPr/>
        </p:nvSpPr>
        <p:spPr>
          <a:xfrm>
            <a:off x="262440" y="3818426"/>
            <a:ext cx="3006971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AR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his process will keep flowing in the same way as it was working before the Day One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LatAm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I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and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FS Team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will keep having access to all the applications on Production and testing environments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CPPEEB-Billing Product &amp; Tax – Kenan and BCD Teams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will keep supporting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 in case of Errors.	</a:t>
            </a:r>
            <a:endParaRPr lang="en-US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AB17E9-0817-4B73-94C4-473BD3F41B69}"/>
              </a:ext>
            </a:extLst>
          </p:cNvPr>
          <p:cNvSpPr/>
          <p:nvPr/>
        </p:nvSpPr>
        <p:spPr>
          <a:xfrm>
            <a:off x="267790" y="3636117"/>
            <a:ext cx="3001621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Key Assumptions (Rules of Engagement)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8F965E4-C46B-40E5-934E-AACE00FCDF28}"/>
              </a:ext>
            </a:extLst>
          </p:cNvPr>
          <p:cNvSpPr txBox="1">
            <a:spLocks/>
          </p:cNvSpPr>
          <p:nvPr/>
        </p:nvSpPr>
        <p:spPr>
          <a:xfrm>
            <a:off x="3316271" y="3888801"/>
            <a:ext cx="2901766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/>
                <a:cs typeface="+mn-cs"/>
              </a:rPr>
              <a:t>VM Ware– BD+2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/>
              <a:cs typeface="+mn-cs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CA8394-C619-4A15-A970-C0319C7A2F82}"/>
              </a:ext>
            </a:extLst>
          </p:cNvPr>
          <p:cNvSpPr/>
          <p:nvPr/>
        </p:nvSpPr>
        <p:spPr>
          <a:xfrm>
            <a:off x="3317966" y="3643848"/>
            <a:ext cx="29000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ervice Targets &amp; Commitment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27B052-FFDA-4917-A229-F34C2748DFC6}"/>
              </a:ext>
            </a:extLst>
          </p:cNvPr>
          <p:cNvSpPr txBox="1">
            <a:spLocks/>
          </p:cNvSpPr>
          <p:nvPr/>
        </p:nvSpPr>
        <p:spPr>
          <a:xfrm>
            <a:off x="6277916" y="3009951"/>
            <a:ext cx="2408883" cy="177756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n case of any record with errors, the data is inserted in the tabl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EOP.Fcarga_Telefonia_log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from wher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send a report with the data extracted to a local factory via email to be analyzed and corrected in order to be billed in the current period.</a:t>
            </a:r>
            <a:endParaRPr lang="en-US" sz="80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f there would be any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Kenan error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, th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/CFS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request support from 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NA Billing Support Team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to set the usage charges as “no bill” and avoid billing errors during the 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/>
              </a:rPr>
              <a:t>currect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bill cycle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Arial" panose="020B0604020202020204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4DB131D-AA3B-49B2-8AF5-5467E2BD4242}"/>
              </a:ext>
            </a:extLst>
          </p:cNvPr>
          <p:cNvSpPr/>
          <p:nvPr/>
        </p:nvSpPr>
        <p:spPr>
          <a:xfrm>
            <a:off x="6277916" y="2773200"/>
            <a:ext cx="2408883" cy="216877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Escalation Path &amp; Error Handling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451850" y="249055"/>
          <a:ext cx="1577342" cy="3886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83836">
                  <a:extLst>
                    <a:ext uri="{9D8B030D-6E8A-4147-A177-3AD203B41FA5}">
                      <a16:colId xmlns:a16="http://schemas.microsoft.com/office/drawing/2014/main" val="2286335863"/>
                    </a:ext>
                  </a:extLst>
                </a:gridCol>
                <a:gridCol w="1093506">
                  <a:extLst>
                    <a:ext uri="{9D8B030D-6E8A-4147-A177-3AD203B41FA5}">
                      <a16:colId xmlns:a16="http://schemas.microsoft.com/office/drawing/2014/main" val="2738046577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wn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b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Lumen -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185252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 b="1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Us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Columbus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303084"/>
                  </a:ext>
                </a:extLst>
              </a:tr>
            </a:tbl>
          </a:graphicData>
        </a:graphic>
      </p:graphicFrame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E61AE93E-D4CB-432F-BDBA-64D231D2327C}"/>
              </a:ext>
            </a:extLst>
          </p:cNvPr>
          <p:cNvSpPr txBox="1">
            <a:spLocks/>
          </p:cNvSpPr>
          <p:nvPr/>
        </p:nvSpPr>
        <p:spPr>
          <a:xfrm>
            <a:off x="262440" y="4834494"/>
            <a:ext cx="397262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fld id="{16AF6406-B3F2-AD48-99A2-24C88CF40A2E}" type="slidenum">
              <a:rPr lang="en-US" sz="700">
                <a:solidFill>
                  <a:srgbClr val="EEEEEE">
                    <a:lumMod val="50000"/>
                  </a:srgbClr>
                </a:solidFill>
                <a:latin typeface="Arial" panose="020B0604020202020204"/>
              </a:rPr>
              <a:pPr defTabSz="457189"/>
              <a:t>6</a:t>
            </a:fld>
            <a:endParaRPr lang="en-US" sz="700">
              <a:solidFill>
                <a:srgbClr val="EEEEEE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EB8E24B-452C-487B-B03F-2D570E305C2D}"/>
              </a:ext>
            </a:extLst>
          </p:cNvPr>
          <p:cNvSpPr txBox="1">
            <a:spLocks/>
          </p:cNvSpPr>
          <p:nvPr/>
        </p:nvSpPr>
        <p:spPr>
          <a:xfrm>
            <a:off x="114807" y="267917"/>
            <a:ext cx="8571992" cy="33785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Billing IT Finance | </a:t>
            </a:r>
            <a:r>
              <a:rPr lang="es-AR" dirty="0" err="1"/>
              <a:t>Usage</a:t>
            </a:r>
            <a:r>
              <a:rPr lang="es-AR" dirty="0"/>
              <a:t> rating/delivery </a:t>
            </a:r>
            <a:r>
              <a:rPr lang="es-AR" dirty="0" err="1"/>
              <a:t>to</a:t>
            </a:r>
            <a:r>
              <a:rPr lang="es-AR" dirty="0"/>
              <a:t> Kenan – </a:t>
            </a:r>
            <a:r>
              <a:rPr lang="en-US" sz="1800" dirty="0"/>
              <a:t>VM Ware</a:t>
            </a:r>
          </a:p>
          <a:p>
            <a:pPr defTabSz="685783"/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EA9267-942B-4D68-9FA9-49087C4A5F12}"/>
              </a:ext>
            </a:extLst>
          </p:cNvPr>
          <p:cNvSpPr txBox="1"/>
          <p:nvPr/>
        </p:nvSpPr>
        <p:spPr>
          <a:xfrm>
            <a:off x="167602" y="864474"/>
            <a:ext cx="4418904" cy="1341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Telephony Product Owner will download the usages per service instance collected during the month and insert the data into RAW/LEXM-RAW/IRS Rating engines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will extract the data from RAW/LEXM-RAW/IRS and the data is loaded into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 script will be executed to consume the usages stored in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o be inserted into EOP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data extracted will be stored in the tabl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.L01_stagging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from where an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file with all the charges collected to be bill in the current period will be generated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Ones th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_File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s created (by the system)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insert the file into an FTP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Kenan IDC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consume the file directly from the FTP and load the usages to their corresponding BAN´s (based on the service instance that was used to collect the usages from RAW/LEXM-RAW/IRS)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BAN bill cycle will be executed, billing all the charges available (Cycle L08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8B09FF-15DE-4121-88AC-002562A3770E}"/>
              </a:ext>
            </a:extLst>
          </p:cNvPr>
          <p:cNvSpPr txBox="1"/>
          <p:nvPr/>
        </p:nvSpPr>
        <p:spPr>
          <a:xfrm>
            <a:off x="5309684" y="1481491"/>
            <a:ext cx="552075" cy="3847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IT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algn="ctr" defTabSz="685783"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alyze request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6EF044-CD87-4855-A490-CBEDE489C72F}"/>
              </a:ext>
            </a:extLst>
          </p:cNvPr>
          <p:cNvSpPr txBox="1"/>
          <p:nvPr/>
        </p:nvSpPr>
        <p:spPr>
          <a:xfrm>
            <a:off x="5959546" y="1468653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574EB00-C328-426F-9D2A-9A8430F76816}"/>
              </a:ext>
            </a:extLst>
          </p:cNvPr>
          <p:cNvSpPr txBox="1"/>
          <p:nvPr/>
        </p:nvSpPr>
        <p:spPr>
          <a:xfrm>
            <a:off x="7249105" y="1527349"/>
            <a:ext cx="506931" cy="307777"/>
          </a:xfrm>
          <a:prstGeom prst="rect">
            <a:avLst/>
          </a:prstGeom>
          <a:solidFill>
            <a:schemeClr val="bg2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PI Planning 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D5247C1-3F50-4247-BDFA-87B979361AF5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>
            <a:off x="5861759" y="1673852"/>
            <a:ext cx="97787" cy="25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0103A53-BA7C-4376-AFA4-D975A1D18D79}"/>
              </a:ext>
            </a:extLst>
          </p:cNvPr>
          <p:cNvCxnSpPr>
            <a:cxnSpLocks/>
            <a:stCxn id="47" idx="3"/>
            <a:endCxn id="84" idx="1"/>
          </p:cNvCxnSpPr>
          <p:nvPr/>
        </p:nvCxnSpPr>
        <p:spPr>
          <a:xfrm flipV="1">
            <a:off x="7756036" y="1681057"/>
            <a:ext cx="159608" cy="1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C9E31383-E790-48D3-AA50-4BFFD5583FAB}"/>
              </a:ext>
            </a:extLst>
          </p:cNvPr>
          <p:cNvSpPr txBox="1"/>
          <p:nvPr/>
        </p:nvSpPr>
        <p:spPr>
          <a:xfrm>
            <a:off x="7915644" y="1427141"/>
            <a:ext cx="625252" cy="5078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IT NA to implement USs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7" name="TextBox 44">
            <a:extLst>
              <a:ext uri="{FF2B5EF4-FFF2-40B4-BE49-F238E27FC236}">
                <a16:creationId xmlns:a16="http://schemas.microsoft.com/office/drawing/2014/main" id="{C45E9215-213C-4DFF-86F3-A7EB91758D5C}"/>
              </a:ext>
            </a:extLst>
          </p:cNvPr>
          <p:cNvSpPr txBox="1"/>
          <p:nvPr/>
        </p:nvSpPr>
        <p:spPr>
          <a:xfrm>
            <a:off x="7972895" y="2031906"/>
            <a:ext cx="547833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lose Request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18AAB635-97F4-4A09-808F-60F42811C3C4}"/>
              </a:ext>
            </a:extLst>
          </p:cNvPr>
          <p:cNvCxnSpPr>
            <a:cxnSpLocks/>
            <a:stCxn id="84" idx="2"/>
            <a:endCxn id="85" idx="0"/>
          </p:cNvCxnSpPr>
          <p:nvPr/>
        </p:nvCxnSpPr>
        <p:spPr>
          <a:xfrm flipH="1">
            <a:off x="7462319" y="1934972"/>
            <a:ext cx="765951" cy="601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51">
            <a:extLst>
              <a:ext uri="{FF2B5EF4-FFF2-40B4-BE49-F238E27FC236}">
                <a16:creationId xmlns:a16="http://schemas.microsoft.com/office/drawing/2014/main" id="{EAB4EA1F-2438-4BF8-B2D7-0E38D830EBC1}"/>
              </a:ext>
            </a:extLst>
          </p:cNvPr>
          <p:cNvSpPr/>
          <p:nvPr/>
        </p:nvSpPr>
        <p:spPr>
          <a:xfrm>
            <a:off x="5685651" y="2466525"/>
            <a:ext cx="124711" cy="12471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2B58B4B6-C522-4AC1-AE92-71F5F4CFF5AC}"/>
              </a:ext>
            </a:extLst>
          </p:cNvPr>
          <p:cNvSpPr txBox="1">
            <a:spLocks/>
          </p:cNvSpPr>
          <p:nvPr/>
        </p:nvSpPr>
        <p:spPr>
          <a:xfrm>
            <a:off x="5748006" y="2505074"/>
            <a:ext cx="529910" cy="95251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Columbus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2B0E343-FAD5-4A7F-B428-B8FF7B1F32CC}"/>
              </a:ext>
            </a:extLst>
          </p:cNvPr>
          <p:cNvSpPr/>
          <p:nvPr/>
        </p:nvSpPr>
        <p:spPr>
          <a:xfrm>
            <a:off x="6662426" y="2466530"/>
            <a:ext cx="124711" cy="12471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6D4A7AB-954E-4CB3-A424-5A654E9829D6}"/>
              </a:ext>
            </a:extLst>
          </p:cNvPr>
          <p:cNvSpPr txBox="1">
            <a:spLocks/>
          </p:cNvSpPr>
          <p:nvPr/>
        </p:nvSpPr>
        <p:spPr>
          <a:xfrm>
            <a:off x="6725205" y="2490442"/>
            <a:ext cx="565094" cy="8323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Lumen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2F1AE6-1DF1-4712-846D-3FA59B0D9A87}"/>
              </a:ext>
            </a:extLst>
          </p:cNvPr>
          <p:cNvSpPr txBox="1"/>
          <p:nvPr/>
        </p:nvSpPr>
        <p:spPr>
          <a:xfrm>
            <a:off x="6600790" y="1473114"/>
            <a:ext cx="537372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Prioritize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543BEBC-DEED-4A77-97DB-FE5EDB1006ED}"/>
              </a:ext>
            </a:extLst>
          </p:cNvPr>
          <p:cNvCxnSpPr>
            <a:cxnSpLocks/>
            <a:stCxn id="49" idx="3"/>
            <a:endCxn id="47" idx="1"/>
          </p:cNvCxnSpPr>
          <p:nvPr/>
        </p:nvCxnSpPr>
        <p:spPr>
          <a:xfrm>
            <a:off x="7138162" y="1673169"/>
            <a:ext cx="110943" cy="80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9DD3F04-C842-45A8-A4A1-507C69EFADF2}"/>
              </a:ext>
            </a:extLst>
          </p:cNvPr>
          <p:cNvSpPr txBox="1">
            <a:spLocks/>
          </p:cNvSpPr>
          <p:nvPr/>
        </p:nvSpPr>
        <p:spPr>
          <a:xfrm>
            <a:off x="270107" y="2991194"/>
            <a:ext cx="2989945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numCol="3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VM Ware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TEC-GUI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EOP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Kenan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316B64C-1A57-4C65-A5A4-E3D40B34DBE0}"/>
              </a:ext>
            </a:extLst>
          </p:cNvPr>
          <p:cNvSpPr txBox="1"/>
          <p:nvPr/>
        </p:nvSpPr>
        <p:spPr>
          <a:xfrm>
            <a:off x="4681795" y="1465479"/>
            <a:ext cx="494373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Create Request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4D16EE3-809B-4E2D-9C6E-6F2CE7C68366}"/>
              </a:ext>
            </a:extLst>
          </p:cNvPr>
          <p:cNvCxnSpPr>
            <a:cxnSpLocks/>
            <a:endCxn id="43" idx="1"/>
          </p:cNvCxnSpPr>
          <p:nvPr/>
        </p:nvCxnSpPr>
        <p:spPr>
          <a:xfrm>
            <a:off x="5169818" y="1673228"/>
            <a:ext cx="139866" cy="6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9F1EDB9B-6DE0-4928-88A5-551B633BB91F}"/>
              </a:ext>
            </a:extLst>
          </p:cNvPr>
          <p:cNvSpPr/>
          <p:nvPr/>
        </p:nvSpPr>
        <p:spPr>
          <a:xfrm>
            <a:off x="7348226" y="2457005"/>
            <a:ext cx="124711" cy="124711"/>
          </a:xfrm>
          <a:prstGeom prst="ellipse">
            <a:avLst/>
          </a:prstGeom>
          <a:solidFill>
            <a:srgbClr val="E6E6E6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53696F6-59B2-46F0-B5FE-E528A05CCE18}"/>
              </a:ext>
            </a:extLst>
          </p:cNvPr>
          <p:cNvSpPr txBox="1">
            <a:spLocks/>
          </p:cNvSpPr>
          <p:nvPr/>
        </p:nvSpPr>
        <p:spPr>
          <a:xfrm>
            <a:off x="7409741" y="2470821"/>
            <a:ext cx="907639" cy="10010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Both 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29DDCB9-5141-44B3-A419-A244AB1D86BD}"/>
              </a:ext>
            </a:extLst>
          </p:cNvPr>
          <p:cNvCxnSpPr>
            <a:cxnSpLocks/>
            <a:stCxn id="44" idx="3"/>
            <a:endCxn id="49" idx="1"/>
          </p:cNvCxnSpPr>
          <p:nvPr/>
        </p:nvCxnSpPr>
        <p:spPr>
          <a:xfrm flipV="1">
            <a:off x="6496918" y="1673169"/>
            <a:ext cx="103872" cy="32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1DFBDE00-3889-4768-9F2E-C48DC0875F5F}"/>
              </a:ext>
            </a:extLst>
          </p:cNvPr>
          <p:cNvSpPr txBox="1"/>
          <p:nvPr/>
        </p:nvSpPr>
        <p:spPr>
          <a:xfrm>
            <a:off x="7193633" y="1995096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Test &amp; 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SignOff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DB20B90-48EB-4A4D-A6F9-9650F52DC745}"/>
              </a:ext>
            </a:extLst>
          </p:cNvPr>
          <p:cNvCxnSpPr>
            <a:cxnSpLocks/>
            <a:stCxn id="85" idx="3"/>
            <a:endCxn id="87" idx="1"/>
          </p:cNvCxnSpPr>
          <p:nvPr/>
        </p:nvCxnSpPr>
        <p:spPr>
          <a:xfrm flipV="1">
            <a:off x="7731005" y="2201183"/>
            <a:ext cx="241890" cy="16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83AB230A-2A1D-4A9C-8397-32EF2A5FC3FB}"/>
              </a:ext>
            </a:extLst>
          </p:cNvPr>
          <p:cNvSpPr txBox="1"/>
          <p:nvPr/>
        </p:nvSpPr>
        <p:spPr>
          <a:xfrm>
            <a:off x="5965790" y="93971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BOPs to provide BCM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1E83C8-4C1B-43E3-BC1E-694BC257BD05}"/>
              </a:ext>
            </a:extLst>
          </p:cNvPr>
          <p:cNvSpPr txBox="1"/>
          <p:nvPr/>
        </p:nvSpPr>
        <p:spPr>
          <a:xfrm>
            <a:off x="6600790" y="94606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s-AR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N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cy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to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8940FAC-B5A5-4781-99ED-C23C5455DCE3}"/>
              </a:ext>
            </a:extLst>
          </p:cNvPr>
          <p:cNvCxnSpPr>
            <a:cxnSpLocks/>
            <a:stCxn id="97" idx="3"/>
            <a:endCxn id="98" idx="1"/>
          </p:cNvCxnSpPr>
          <p:nvPr/>
        </p:nvCxnSpPr>
        <p:spPr>
          <a:xfrm>
            <a:off x="6503162" y="1147463"/>
            <a:ext cx="97628" cy="63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108F5C6-38BD-4677-9841-D44FFDB37744}"/>
              </a:ext>
            </a:extLst>
          </p:cNvPr>
          <p:cNvCxnSpPr>
            <a:cxnSpLocks/>
            <a:stCxn id="98" idx="2"/>
            <a:endCxn id="49" idx="0"/>
          </p:cNvCxnSpPr>
          <p:nvPr/>
        </p:nvCxnSpPr>
        <p:spPr>
          <a:xfrm>
            <a:off x="6869476" y="1361562"/>
            <a:ext cx="0" cy="1115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27999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CA1C36-8945-4F11-AB2A-3EFEB66B88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CA1C36-8945-4F11-AB2A-3EFEB66B8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FA12F9C-D656-4078-89AD-E763E85B2B5F}"/>
              </a:ext>
            </a:extLst>
          </p:cNvPr>
          <p:cNvSpPr/>
          <p:nvPr/>
        </p:nvSpPr>
        <p:spPr>
          <a:xfrm>
            <a:off x="240323" y="635698"/>
            <a:ext cx="844647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High Level Process Description and Process Flow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AD3635-6B1E-4D90-B610-6361BEFB04EA}"/>
              </a:ext>
            </a:extLst>
          </p:cNvPr>
          <p:cNvSpPr txBox="1">
            <a:spLocks/>
          </p:cNvSpPr>
          <p:nvPr/>
        </p:nvSpPr>
        <p:spPr>
          <a:xfrm>
            <a:off x="3316271" y="2988949"/>
            <a:ext cx="2901766" cy="59825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defPPr>
              <a:defRPr lang="en-US"/>
            </a:defPPr>
            <a:lvl1pPr marL="171450" indent="-17145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b="0" i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olumbus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Agustin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Speziale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/Maria de los Angeles Lobo/Sebastian Field</a:t>
            </a:r>
          </a:p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ResCo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N/A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28B08-679C-495A-ABE7-BAE0FFA54EF0}"/>
              </a:ext>
            </a:extLst>
          </p:cNvPr>
          <p:cNvSpPr/>
          <p:nvPr/>
        </p:nvSpPr>
        <p:spPr>
          <a:xfrm>
            <a:off x="3316271" y="2777839"/>
            <a:ext cx="290176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Roles &amp; Actors (Key Users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A8298CC-5E2E-4BAA-82D5-43D06129DD3C}"/>
              </a:ext>
            </a:extLst>
          </p:cNvPr>
          <p:cNvSpPr txBox="1">
            <a:spLocks/>
          </p:cNvSpPr>
          <p:nvPr/>
        </p:nvSpPr>
        <p:spPr>
          <a:xfrm>
            <a:off x="266447" y="2987373"/>
            <a:ext cx="3006971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FC0D4B-86C5-47BE-988B-FBF421817AF9}"/>
              </a:ext>
            </a:extLst>
          </p:cNvPr>
          <p:cNvSpPr/>
          <p:nvPr/>
        </p:nvSpPr>
        <p:spPr>
          <a:xfrm>
            <a:off x="266448" y="2773198"/>
            <a:ext cx="30069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ystems, Applications &amp; Tools Require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04297A-D14C-4107-BB0A-E75555FCC428}"/>
              </a:ext>
            </a:extLst>
          </p:cNvPr>
          <p:cNvSpPr txBox="1">
            <a:spLocks/>
          </p:cNvSpPr>
          <p:nvPr/>
        </p:nvSpPr>
        <p:spPr>
          <a:xfrm>
            <a:off x="240323" y="895498"/>
            <a:ext cx="8433415" cy="1765879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6504CF4-20F7-4B5D-ABF7-AF170C5E95F0}"/>
              </a:ext>
            </a:extLst>
          </p:cNvPr>
          <p:cNvSpPr txBox="1">
            <a:spLocks/>
          </p:cNvSpPr>
          <p:nvPr/>
        </p:nvSpPr>
        <p:spPr>
          <a:xfrm>
            <a:off x="262440" y="3818426"/>
            <a:ext cx="3006971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AR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his process will keep flowing in the same way as it was working before the Day One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LatAm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I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and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FS Team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will keep having access to all the applications on Production and testing environments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CPPEEB-Billing Product &amp; Tax – Kenan and BCD Teams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will keep supporting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 in case of Errors.	</a:t>
            </a:r>
            <a:endParaRPr lang="en-US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AB17E9-0817-4B73-94C4-473BD3F41B69}"/>
              </a:ext>
            </a:extLst>
          </p:cNvPr>
          <p:cNvSpPr/>
          <p:nvPr/>
        </p:nvSpPr>
        <p:spPr>
          <a:xfrm>
            <a:off x="267790" y="3636117"/>
            <a:ext cx="3001621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Key Assumptions (Rules of Engagement)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8F965E4-C46B-40E5-934E-AACE00FCDF28}"/>
              </a:ext>
            </a:extLst>
          </p:cNvPr>
          <p:cNvSpPr txBox="1">
            <a:spLocks/>
          </p:cNvSpPr>
          <p:nvPr/>
        </p:nvSpPr>
        <p:spPr>
          <a:xfrm>
            <a:off x="3316271" y="3869751"/>
            <a:ext cx="2901766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/>
                <a:cs typeface="+mn-cs"/>
              </a:rPr>
              <a:t>OSSDB – BD+7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/>
              <a:cs typeface="+mn-cs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CA8394-C619-4A15-A970-C0319C7A2F82}"/>
              </a:ext>
            </a:extLst>
          </p:cNvPr>
          <p:cNvSpPr/>
          <p:nvPr/>
        </p:nvSpPr>
        <p:spPr>
          <a:xfrm>
            <a:off x="3317966" y="3643848"/>
            <a:ext cx="29000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ervice Targets &amp; Commitment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27B052-FFDA-4917-A229-F34C2748DFC6}"/>
              </a:ext>
            </a:extLst>
          </p:cNvPr>
          <p:cNvSpPr txBox="1">
            <a:spLocks/>
          </p:cNvSpPr>
          <p:nvPr/>
        </p:nvSpPr>
        <p:spPr>
          <a:xfrm>
            <a:off x="6277916" y="3000426"/>
            <a:ext cx="2408883" cy="177756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n case of any record with errors, the data is inserted in the tabl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EOP.Fcarga_Telefonia_log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from wher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send a report with the data extracted to a local factory via email to be analyzed and corrected in order to be billed in the current period.</a:t>
            </a:r>
            <a:endParaRPr lang="en-US" sz="80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f there would be any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Kenan error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, th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/CFS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request support from 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NA Billing Support Team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to set the usage charges as “no bill” and avoid billing errors during the 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/>
              </a:rPr>
              <a:t>currect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bill cycle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Arial" panose="020B0604020202020204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4DB131D-AA3B-49B2-8AF5-5467E2BD4242}"/>
              </a:ext>
            </a:extLst>
          </p:cNvPr>
          <p:cNvSpPr/>
          <p:nvPr/>
        </p:nvSpPr>
        <p:spPr>
          <a:xfrm>
            <a:off x="6277916" y="2773200"/>
            <a:ext cx="2408883" cy="216877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Escalation Path &amp; Error Handling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451850" y="249055"/>
          <a:ext cx="1577342" cy="3886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83836">
                  <a:extLst>
                    <a:ext uri="{9D8B030D-6E8A-4147-A177-3AD203B41FA5}">
                      <a16:colId xmlns:a16="http://schemas.microsoft.com/office/drawing/2014/main" val="2286335863"/>
                    </a:ext>
                  </a:extLst>
                </a:gridCol>
                <a:gridCol w="1093506">
                  <a:extLst>
                    <a:ext uri="{9D8B030D-6E8A-4147-A177-3AD203B41FA5}">
                      <a16:colId xmlns:a16="http://schemas.microsoft.com/office/drawing/2014/main" val="2738046577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wn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b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Lumen -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185252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 b="1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Us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Columbus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303084"/>
                  </a:ext>
                </a:extLst>
              </a:tr>
            </a:tbl>
          </a:graphicData>
        </a:graphic>
      </p:graphicFrame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E61AE93E-D4CB-432F-BDBA-64D231D2327C}"/>
              </a:ext>
            </a:extLst>
          </p:cNvPr>
          <p:cNvSpPr txBox="1">
            <a:spLocks/>
          </p:cNvSpPr>
          <p:nvPr/>
        </p:nvSpPr>
        <p:spPr>
          <a:xfrm>
            <a:off x="262440" y="4834494"/>
            <a:ext cx="397262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fld id="{16AF6406-B3F2-AD48-99A2-24C88CF40A2E}" type="slidenum">
              <a:rPr lang="en-US" sz="700">
                <a:solidFill>
                  <a:srgbClr val="EEEEEE">
                    <a:lumMod val="50000"/>
                  </a:srgbClr>
                </a:solidFill>
                <a:latin typeface="Arial" panose="020B0604020202020204"/>
              </a:rPr>
              <a:pPr defTabSz="457189"/>
              <a:t>7</a:t>
            </a:fld>
            <a:endParaRPr lang="en-US" sz="700">
              <a:solidFill>
                <a:srgbClr val="EEEEEE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EB8E24B-452C-487B-B03F-2D570E305C2D}"/>
              </a:ext>
            </a:extLst>
          </p:cNvPr>
          <p:cNvSpPr txBox="1">
            <a:spLocks/>
          </p:cNvSpPr>
          <p:nvPr/>
        </p:nvSpPr>
        <p:spPr>
          <a:xfrm>
            <a:off x="114807" y="267917"/>
            <a:ext cx="8571992" cy="33785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Billing IT Finance | </a:t>
            </a:r>
            <a:r>
              <a:rPr lang="es-AR" dirty="0" err="1"/>
              <a:t>Usage</a:t>
            </a:r>
            <a:r>
              <a:rPr lang="es-AR" dirty="0"/>
              <a:t> rating/delivery </a:t>
            </a:r>
            <a:r>
              <a:rPr lang="es-AR" dirty="0" err="1"/>
              <a:t>to</a:t>
            </a:r>
            <a:r>
              <a:rPr lang="es-AR" dirty="0"/>
              <a:t> Kenan – </a:t>
            </a:r>
            <a:r>
              <a:rPr lang="en-US" sz="1800" dirty="0"/>
              <a:t>OSSDB</a:t>
            </a:r>
          </a:p>
          <a:p>
            <a:pPr defTabSz="685783"/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EA9267-942B-4D68-9FA9-49087C4A5F12}"/>
              </a:ext>
            </a:extLst>
          </p:cNvPr>
          <p:cNvSpPr txBox="1"/>
          <p:nvPr/>
        </p:nvSpPr>
        <p:spPr>
          <a:xfrm>
            <a:off x="167602" y="864474"/>
            <a:ext cx="4418904" cy="15331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rough a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Web service client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, the first day of the month the usages collected are downloaded from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OSSDB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database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Once the usages are inserted in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in the tabl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USG_INTERNET_HEADER,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MRC charges are validated from Siebel 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will extract the data from RAW/LEXM-RAW/IRS and the data is loaded into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 script will be executed to consume the usages stored in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o be inserted into EOP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data extracted will be stored in the tabl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.L01_stagging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from where an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file with all the charges collected to be bill in the current period will be generated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Ones th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_File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s created (by the system)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insert the file into an FTP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Kenan IDC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consume the file directly from the FTP and load the usages to their corresponding BAN´s (based on the service instance that was used to collect the usages from RAW/LEXM-RAW/IRS)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BAN bill cycle will be executed, billing all the charges available (Cycle L08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8B09FF-15DE-4121-88AC-002562A3770E}"/>
              </a:ext>
            </a:extLst>
          </p:cNvPr>
          <p:cNvSpPr txBox="1"/>
          <p:nvPr/>
        </p:nvSpPr>
        <p:spPr>
          <a:xfrm>
            <a:off x="5309684" y="1481491"/>
            <a:ext cx="552075" cy="3847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IT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algn="ctr" defTabSz="685783"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alyze request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6EF044-CD87-4855-A490-CBEDE489C72F}"/>
              </a:ext>
            </a:extLst>
          </p:cNvPr>
          <p:cNvSpPr txBox="1"/>
          <p:nvPr/>
        </p:nvSpPr>
        <p:spPr>
          <a:xfrm>
            <a:off x="5959546" y="1468653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574EB00-C328-426F-9D2A-9A8430F76816}"/>
              </a:ext>
            </a:extLst>
          </p:cNvPr>
          <p:cNvSpPr txBox="1"/>
          <p:nvPr/>
        </p:nvSpPr>
        <p:spPr>
          <a:xfrm>
            <a:off x="7249105" y="1527349"/>
            <a:ext cx="506931" cy="307777"/>
          </a:xfrm>
          <a:prstGeom prst="rect">
            <a:avLst/>
          </a:prstGeom>
          <a:solidFill>
            <a:schemeClr val="bg2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PI Planning 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D5247C1-3F50-4247-BDFA-87B979361AF5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>
            <a:off x="5861759" y="1673852"/>
            <a:ext cx="97787" cy="25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0103A53-BA7C-4376-AFA4-D975A1D18D79}"/>
              </a:ext>
            </a:extLst>
          </p:cNvPr>
          <p:cNvCxnSpPr>
            <a:cxnSpLocks/>
            <a:stCxn id="47" idx="3"/>
            <a:endCxn id="84" idx="1"/>
          </p:cNvCxnSpPr>
          <p:nvPr/>
        </p:nvCxnSpPr>
        <p:spPr>
          <a:xfrm flipV="1">
            <a:off x="7756036" y="1681057"/>
            <a:ext cx="159608" cy="1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C9E31383-E790-48D3-AA50-4BFFD5583FAB}"/>
              </a:ext>
            </a:extLst>
          </p:cNvPr>
          <p:cNvSpPr txBox="1"/>
          <p:nvPr/>
        </p:nvSpPr>
        <p:spPr>
          <a:xfrm>
            <a:off x="7915644" y="1427141"/>
            <a:ext cx="625252" cy="5078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IT NA to implement USs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7" name="TextBox 44">
            <a:extLst>
              <a:ext uri="{FF2B5EF4-FFF2-40B4-BE49-F238E27FC236}">
                <a16:creationId xmlns:a16="http://schemas.microsoft.com/office/drawing/2014/main" id="{C45E9215-213C-4DFF-86F3-A7EB91758D5C}"/>
              </a:ext>
            </a:extLst>
          </p:cNvPr>
          <p:cNvSpPr txBox="1"/>
          <p:nvPr/>
        </p:nvSpPr>
        <p:spPr>
          <a:xfrm>
            <a:off x="7972895" y="2031906"/>
            <a:ext cx="547833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lose Request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18AAB635-97F4-4A09-808F-60F42811C3C4}"/>
              </a:ext>
            </a:extLst>
          </p:cNvPr>
          <p:cNvCxnSpPr>
            <a:cxnSpLocks/>
            <a:stCxn id="84" idx="2"/>
            <a:endCxn id="85" idx="0"/>
          </p:cNvCxnSpPr>
          <p:nvPr/>
        </p:nvCxnSpPr>
        <p:spPr>
          <a:xfrm flipH="1">
            <a:off x="7462319" y="1934972"/>
            <a:ext cx="765951" cy="601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51">
            <a:extLst>
              <a:ext uri="{FF2B5EF4-FFF2-40B4-BE49-F238E27FC236}">
                <a16:creationId xmlns:a16="http://schemas.microsoft.com/office/drawing/2014/main" id="{EAB4EA1F-2438-4BF8-B2D7-0E38D830EBC1}"/>
              </a:ext>
            </a:extLst>
          </p:cNvPr>
          <p:cNvSpPr/>
          <p:nvPr/>
        </p:nvSpPr>
        <p:spPr>
          <a:xfrm>
            <a:off x="5685651" y="2466525"/>
            <a:ext cx="124711" cy="12471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2B58B4B6-C522-4AC1-AE92-71F5F4CFF5AC}"/>
              </a:ext>
            </a:extLst>
          </p:cNvPr>
          <p:cNvSpPr txBox="1">
            <a:spLocks/>
          </p:cNvSpPr>
          <p:nvPr/>
        </p:nvSpPr>
        <p:spPr>
          <a:xfrm>
            <a:off x="5748006" y="2505074"/>
            <a:ext cx="529910" cy="95251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Columbus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2B0E343-FAD5-4A7F-B428-B8FF7B1F32CC}"/>
              </a:ext>
            </a:extLst>
          </p:cNvPr>
          <p:cNvSpPr/>
          <p:nvPr/>
        </p:nvSpPr>
        <p:spPr>
          <a:xfrm>
            <a:off x="6662426" y="2466530"/>
            <a:ext cx="124711" cy="12471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6D4A7AB-954E-4CB3-A424-5A654E9829D6}"/>
              </a:ext>
            </a:extLst>
          </p:cNvPr>
          <p:cNvSpPr txBox="1">
            <a:spLocks/>
          </p:cNvSpPr>
          <p:nvPr/>
        </p:nvSpPr>
        <p:spPr>
          <a:xfrm>
            <a:off x="6725205" y="2490442"/>
            <a:ext cx="565094" cy="8323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Lumen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2F1AE6-1DF1-4712-846D-3FA59B0D9A87}"/>
              </a:ext>
            </a:extLst>
          </p:cNvPr>
          <p:cNvSpPr txBox="1"/>
          <p:nvPr/>
        </p:nvSpPr>
        <p:spPr>
          <a:xfrm>
            <a:off x="6600790" y="1473114"/>
            <a:ext cx="537372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Prioritize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543BEBC-DEED-4A77-97DB-FE5EDB1006ED}"/>
              </a:ext>
            </a:extLst>
          </p:cNvPr>
          <p:cNvCxnSpPr>
            <a:cxnSpLocks/>
            <a:stCxn id="49" idx="3"/>
            <a:endCxn id="47" idx="1"/>
          </p:cNvCxnSpPr>
          <p:nvPr/>
        </p:nvCxnSpPr>
        <p:spPr>
          <a:xfrm>
            <a:off x="7138162" y="1673169"/>
            <a:ext cx="110943" cy="80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9DD3F04-C842-45A8-A4A1-507C69EFADF2}"/>
              </a:ext>
            </a:extLst>
          </p:cNvPr>
          <p:cNvSpPr txBox="1">
            <a:spLocks/>
          </p:cNvSpPr>
          <p:nvPr/>
        </p:nvSpPr>
        <p:spPr>
          <a:xfrm>
            <a:off x="279632" y="2991194"/>
            <a:ext cx="2989945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numCol="3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OSSDB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Siebel 8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Haystack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EOP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Kenan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316B64C-1A57-4C65-A5A4-E3D40B34DBE0}"/>
              </a:ext>
            </a:extLst>
          </p:cNvPr>
          <p:cNvSpPr txBox="1"/>
          <p:nvPr/>
        </p:nvSpPr>
        <p:spPr>
          <a:xfrm>
            <a:off x="4681795" y="1465479"/>
            <a:ext cx="494373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Create Request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4D16EE3-809B-4E2D-9C6E-6F2CE7C68366}"/>
              </a:ext>
            </a:extLst>
          </p:cNvPr>
          <p:cNvCxnSpPr>
            <a:cxnSpLocks/>
            <a:endCxn id="43" idx="1"/>
          </p:cNvCxnSpPr>
          <p:nvPr/>
        </p:nvCxnSpPr>
        <p:spPr>
          <a:xfrm>
            <a:off x="5169818" y="1673228"/>
            <a:ext cx="139866" cy="6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9F1EDB9B-6DE0-4928-88A5-551B633BB91F}"/>
              </a:ext>
            </a:extLst>
          </p:cNvPr>
          <p:cNvSpPr/>
          <p:nvPr/>
        </p:nvSpPr>
        <p:spPr>
          <a:xfrm>
            <a:off x="7348226" y="2457005"/>
            <a:ext cx="124711" cy="124711"/>
          </a:xfrm>
          <a:prstGeom prst="ellipse">
            <a:avLst/>
          </a:prstGeom>
          <a:solidFill>
            <a:srgbClr val="E6E6E6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53696F6-59B2-46F0-B5FE-E528A05CCE18}"/>
              </a:ext>
            </a:extLst>
          </p:cNvPr>
          <p:cNvSpPr txBox="1">
            <a:spLocks/>
          </p:cNvSpPr>
          <p:nvPr/>
        </p:nvSpPr>
        <p:spPr>
          <a:xfrm>
            <a:off x="7409741" y="2470821"/>
            <a:ext cx="907639" cy="10010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Both 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29DDCB9-5141-44B3-A419-A244AB1D86BD}"/>
              </a:ext>
            </a:extLst>
          </p:cNvPr>
          <p:cNvCxnSpPr>
            <a:cxnSpLocks/>
            <a:stCxn id="44" idx="3"/>
            <a:endCxn id="49" idx="1"/>
          </p:cNvCxnSpPr>
          <p:nvPr/>
        </p:nvCxnSpPr>
        <p:spPr>
          <a:xfrm flipV="1">
            <a:off x="6496918" y="1673169"/>
            <a:ext cx="103872" cy="32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1DFBDE00-3889-4768-9F2E-C48DC0875F5F}"/>
              </a:ext>
            </a:extLst>
          </p:cNvPr>
          <p:cNvSpPr txBox="1"/>
          <p:nvPr/>
        </p:nvSpPr>
        <p:spPr>
          <a:xfrm>
            <a:off x="7193633" y="1995096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Test &amp; 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SignOff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DB20B90-48EB-4A4D-A6F9-9650F52DC745}"/>
              </a:ext>
            </a:extLst>
          </p:cNvPr>
          <p:cNvCxnSpPr>
            <a:cxnSpLocks/>
            <a:stCxn id="85" idx="3"/>
            <a:endCxn id="87" idx="1"/>
          </p:cNvCxnSpPr>
          <p:nvPr/>
        </p:nvCxnSpPr>
        <p:spPr>
          <a:xfrm flipV="1">
            <a:off x="7731005" y="2201183"/>
            <a:ext cx="241890" cy="16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83AB230A-2A1D-4A9C-8397-32EF2A5FC3FB}"/>
              </a:ext>
            </a:extLst>
          </p:cNvPr>
          <p:cNvSpPr txBox="1"/>
          <p:nvPr/>
        </p:nvSpPr>
        <p:spPr>
          <a:xfrm>
            <a:off x="5965790" y="93971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BOPs to provide BCM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1E83C8-4C1B-43E3-BC1E-694BC257BD05}"/>
              </a:ext>
            </a:extLst>
          </p:cNvPr>
          <p:cNvSpPr txBox="1"/>
          <p:nvPr/>
        </p:nvSpPr>
        <p:spPr>
          <a:xfrm>
            <a:off x="6600790" y="94606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s-AR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N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cy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to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8940FAC-B5A5-4781-99ED-C23C5455DCE3}"/>
              </a:ext>
            </a:extLst>
          </p:cNvPr>
          <p:cNvCxnSpPr>
            <a:cxnSpLocks/>
            <a:stCxn id="97" idx="3"/>
            <a:endCxn id="98" idx="1"/>
          </p:cNvCxnSpPr>
          <p:nvPr/>
        </p:nvCxnSpPr>
        <p:spPr>
          <a:xfrm>
            <a:off x="6503162" y="1147463"/>
            <a:ext cx="97628" cy="63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108F5C6-38BD-4677-9841-D44FFDB37744}"/>
              </a:ext>
            </a:extLst>
          </p:cNvPr>
          <p:cNvCxnSpPr>
            <a:cxnSpLocks/>
            <a:stCxn id="98" idx="2"/>
            <a:endCxn id="49" idx="0"/>
          </p:cNvCxnSpPr>
          <p:nvPr/>
        </p:nvCxnSpPr>
        <p:spPr>
          <a:xfrm>
            <a:off x="6869476" y="1361562"/>
            <a:ext cx="0" cy="1115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67707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CA1C36-8945-4F11-AB2A-3EFEB66B88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CA1C36-8945-4F11-AB2A-3EFEB66B8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FA12F9C-D656-4078-89AD-E763E85B2B5F}"/>
              </a:ext>
            </a:extLst>
          </p:cNvPr>
          <p:cNvSpPr/>
          <p:nvPr/>
        </p:nvSpPr>
        <p:spPr>
          <a:xfrm>
            <a:off x="240323" y="635698"/>
            <a:ext cx="844647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High Level Process Description and Process Flow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AD3635-6B1E-4D90-B610-6361BEFB04EA}"/>
              </a:ext>
            </a:extLst>
          </p:cNvPr>
          <p:cNvSpPr txBox="1">
            <a:spLocks/>
          </p:cNvSpPr>
          <p:nvPr/>
        </p:nvSpPr>
        <p:spPr>
          <a:xfrm>
            <a:off x="3316271" y="3017524"/>
            <a:ext cx="2901766" cy="59825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defPPr>
              <a:defRPr lang="en-US"/>
            </a:defPPr>
            <a:lvl1pPr marL="171450" indent="-17145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b="0" i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olumbus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Sebastian Field</a:t>
            </a:r>
          </a:p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ResCo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TBD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28B08-679C-495A-ABE7-BAE0FFA54EF0}"/>
              </a:ext>
            </a:extLst>
          </p:cNvPr>
          <p:cNvSpPr/>
          <p:nvPr/>
        </p:nvSpPr>
        <p:spPr>
          <a:xfrm>
            <a:off x="3316271" y="2777839"/>
            <a:ext cx="290176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Roles &amp; Actors (Key Users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A8298CC-5E2E-4BAA-82D5-43D06129DD3C}"/>
              </a:ext>
            </a:extLst>
          </p:cNvPr>
          <p:cNvSpPr txBox="1">
            <a:spLocks/>
          </p:cNvSpPr>
          <p:nvPr/>
        </p:nvSpPr>
        <p:spPr>
          <a:xfrm>
            <a:off x="266447" y="2987373"/>
            <a:ext cx="3006971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FC0D4B-86C5-47BE-988B-FBF421817AF9}"/>
              </a:ext>
            </a:extLst>
          </p:cNvPr>
          <p:cNvSpPr/>
          <p:nvPr/>
        </p:nvSpPr>
        <p:spPr>
          <a:xfrm>
            <a:off x="266448" y="2773198"/>
            <a:ext cx="30069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ystems, Applications &amp; Tools Require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04297A-D14C-4107-BB0A-E75555FCC428}"/>
              </a:ext>
            </a:extLst>
          </p:cNvPr>
          <p:cNvSpPr txBox="1">
            <a:spLocks/>
          </p:cNvSpPr>
          <p:nvPr/>
        </p:nvSpPr>
        <p:spPr>
          <a:xfrm>
            <a:off x="240323" y="895498"/>
            <a:ext cx="8433415" cy="1765879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6504CF4-20F7-4B5D-ABF7-AF170C5E95F0}"/>
              </a:ext>
            </a:extLst>
          </p:cNvPr>
          <p:cNvSpPr txBox="1">
            <a:spLocks/>
          </p:cNvSpPr>
          <p:nvPr/>
        </p:nvSpPr>
        <p:spPr>
          <a:xfrm>
            <a:off x="262440" y="3818426"/>
            <a:ext cx="3006971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AR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his process will keep flowing in the same way as it was working before the Day One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LatAm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I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and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FS Team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will keep having access to all the applications on Production and testing environments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CPPEEB-Billing Product &amp; Tax – Kenan and BCD Teams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will keep supporting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 in case of Errors.	</a:t>
            </a:r>
            <a:endParaRPr lang="en-US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AB17E9-0817-4B73-94C4-473BD3F41B69}"/>
              </a:ext>
            </a:extLst>
          </p:cNvPr>
          <p:cNvSpPr/>
          <p:nvPr/>
        </p:nvSpPr>
        <p:spPr>
          <a:xfrm>
            <a:off x="267790" y="3636117"/>
            <a:ext cx="3001621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Key Assumptions (Rules of Engagement)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8F965E4-C46B-40E5-934E-AACE00FCDF28}"/>
              </a:ext>
            </a:extLst>
          </p:cNvPr>
          <p:cNvSpPr txBox="1">
            <a:spLocks/>
          </p:cNvSpPr>
          <p:nvPr/>
        </p:nvSpPr>
        <p:spPr>
          <a:xfrm>
            <a:off x="3316271" y="3888801"/>
            <a:ext cx="2901766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/>
                <a:cs typeface="+mn-cs"/>
              </a:rPr>
              <a:t>BRM – BD+7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/>
              <a:cs typeface="+mn-cs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CA8394-C619-4A15-A970-C0319C7A2F82}"/>
              </a:ext>
            </a:extLst>
          </p:cNvPr>
          <p:cNvSpPr/>
          <p:nvPr/>
        </p:nvSpPr>
        <p:spPr>
          <a:xfrm>
            <a:off x="3317966" y="3643848"/>
            <a:ext cx="29000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ervice Targets &amp; Commitment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27B052-FFDA-4917-A229-F34C2748DFC6}"/>
              </a:ext>
            </a:extLst>
          </p:cNvPr>
          <p:cNvSpPr txBox="1">
            <a:spLocks/>
          </p:cNvSpPr>
          <p:nvPr/>
        </p:nvSpPr>
        <p:spPr>
          <a:xfrm>
            <a:off x="6277916" y="3009951"/>
            <a:ext cx="2408883" cy="177756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n case of any record with errors, the data is inserted in the tabl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EOP.Fcarga_Telefonia_log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from wher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send a report with the data extracted to a local factory via email to be analyzed and corrected in order to be billed in the current period.</a:t>
            </a:r>
            <a:endParaRPr lang="en-US" sz="80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f there would be any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Kenan error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, th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/CFS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request support from 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NA Billing Support Team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to set the usage charges as “no bill” and avoid billing errors during the 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/>
              </a:rPr>
              <a:t>currect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bill cycle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Arial" panose="020B0604020202020204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4DB131D-AA3B-49B2-8AF5-5467E2BD4242}"/>
              </a:ext>
            </a:extLst>
          </p:cNvPr>
          <p:cNvSpPr/>
          <p:nvPr/>
        </p:nvSpPr>
        <p:spPr>
          <a:xfrm>
            <a:off x="6277916" y="2773200"/>
            <a:ext cx="2408883" cy="216877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Escalation Path &amp; Error Handling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451850" y="249055"/>
          <a:ext cx="1577342" cy="3886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83836">
                  <a:extLst>
                    <a:ext uri="{9D8B030D-6E8A-4147-A177-3AD203B41FA5}">
                      <a16:colId xmlns:a16="http://schemas.microsoft.com/office/drawing/2014/main" val="2286335863"/>
                    </a:ext>
                  </a:extLst>
                </a:gridCol>
                <a:gridCol w="1093506">
                  <a:extLst>
                    <a:ext uri="{9D8B030D-6E8A-4147-A177-3AD203B41FA5}">
                      <a16:colId xmlns:a16="http://schemas.microsoft.com/office/drawing/2014/main" val="2738046577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wn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b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Lumen -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185252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 b="1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Us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Columbus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303084"/>
                  </a:ext>
                </a:extLst>
              </a:tr>
            </a:tbl>
          </a:graphicData>
        </a:graphic>
      </p:graphicFrame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E61AE93E-D4CB-432F-BDBA-64D231D2327C}"/>
              </a:ext>
            </a:extLst>
          </p:cNvPr>
          <p:cNvSpPr txBox="1">
            <a:spLocks/>
          </p:cNvSpPr>
          <p:nvPr/>
        </p:nvSpPr>
        <p:spPr>
          <a:xfrm>
            <a:off x="262440" y="4834494"/>
            <a:ext cx="397262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fld id="{16AF6406-B3F2-AD48-99A2-24C88CF40A2E}" type="slidenum">
              <a:rPr lang="en-US" sz="700">
                <a:solidFill>
                  <a:srgbClr val="EEEEEE">
                    <a:lumMod val="50000"/>
                  </a:srgbClr>
                </a:solidFill>
                <a:latin typeface="Arial" panose="020B0604020202020204"/>
              </a:rPr>
              <a:pPr defTabSz="457189"/>
              <a:t>8</a:t>
            </a:fld>
            <a:endParaRPr lang="en-US" sz="700">
              <a:solidFill>
                <a:srgbClr val="EEEEEE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EB8E24B-452C-487B-B03F-2D570E305C2D}"/>
              </a:ext>
            </a:extLst>
          </p:cNvPr>
          <p:cNvSpPr txBox="1">
            <a:spLocks/>
          </p:cNvSpPr>
          <p:nvPr/>
        </p:nvSpPr>
        <p:spPr>
          <a:xfrm>
            <a:off x="114807" y="267917"/>
            <a:ext cx="8571992" cy="33785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Billing IT Finance | </a:t>
            </a:r>
            <a:r>
              <a:rPr lang="es-AR" dirty="0" err="1"/>
              <a:t>Usage</a:t>
            </a:r>
            <a:r>
              <a:rPr lang="es-AR" dirty="0"/>
              <a:t> rating/delivery </a:t>
            </a:r>
            <a:r>
              <a:rPr lang="es-AR" dirty="0" err="1"/>
              <a:t>to</a:t>
            </a:r>
            <a:r>
              <a:rPr lang="es-AR" dirty="0"/>
              <a:t> Kenan – </a:t>
            </a:r>
            <a:r>
              <a:rPr lang="en-US" sz="1800" dirty="0"/>
              <a:t>BRM</a:t>
            </a:r>
          </a:p>
          <a:p>
            <a:pPr defTabSz="685783"/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EA9267-942B-4D68-9FA9-49087C4A5F12}"/>
              </a:ext>
            </a:extLst>
          </p:cNvPr>
          <p:cNvSpPr txBox="1"/>
          <p:nvPr/>
        </p:nvSpPr>
        <p:spPr>
          <a:xfrm>
            <a:off x="167602" y="864474"/>
            <a:ext cx="4418904" cy="1341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Telephony Product Owner will download the usages per service instance collected during the month and insert the data into RAW/LEXM-RAW/IRS Rating engines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will extract the data from RAW/LEXM-RAW/IRS and the data is loaded into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 script will be executed to consume the usages stored in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o be inserted into EOP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data extracted will be stored in the tabl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.L01_stagging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from where an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file with all the charges collected to be bill in the current period will be generated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Ones th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_File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s created (by the system)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insert the file into an FTP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Kenan IDC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consume the file directly from the FTP and load the usages to their corresponding BAN´s (based on the service instance that was used to collect the usages from RAW/LEXM-RAW/IRS)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BAN bill cycle will be executed, billing all the charges available (Cycle L08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8B09FF-15DE-4121-88AC-002562A3770E}"/>
              </a:ext>
            </a:extLst>
          </p:cNvPr>
          <p:cNvSpPr txBox="1"/>
          <p:nvPr/>
        </p:nvSpPr>
        <p:spPr>
          <a:xfrm>
            <a:off x="5309684" y="1481491"/>
            <a:ext cx="552075" cy="3847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IT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algn="ctr" defTabSz="685783"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alyze request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6EF044-CD87-4855-A490-CBEDE489C72F}"/>
              </a:ext>
            </a:extLst>
          </p:cNvPr>
          <p:cNvSpPr txBox="1"/>
          <p:nvPr/>
        </p:nvSpPr>
        <p:spPr>
          <a:xfrm>
            <a:off x="5959546" y="1468653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574EB00-C328-426F-9D2A-9A8430F76816}"/>
              </a:ext>
            </a:extLst>
          </p:cNvPr>
          <p:cNvSpPr txBox="1"/>
          <p:nvPr/>
        </p:nvSpPr>
        <p:spPr>
          <a:xfrm>
            <a:off x="7249105" y="1527349"/>
            <a:ext cx="506931" cy="307777"/>
          </a:xfrm>
          <a:prstGeom prst="rect">
            <a:avLst/>
          </a:prstGeom>
          <a:solidFill>
            <a:schemeClr val="bg2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PI Planning 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D5247C1-3F50-4247-BDFA-87B979361AF5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>
            <a:off x="5861759" y="1673852"/>
            <a:ext cx="97787" cy="25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0103A53-BA7C-4376-AFA4-D975A1D18D79}"/>
              </a:ext>
            </a:extLst>
          </p:cNvPr>
          <p:cNvCxnSpPr>
            <a:cxnSpLocks/>
            <a:stCxn id="47" idx="3"/>
            <a:endCxn id="84" idx="1"/>
          </p:cNvCxnSpPr>
          <p:nvPr/>
        </p:nvCxnSpPr>
        <p:spPr>
          <a:xfrm flipV="1">
            <a:off x="7756036" y="1681057"/>
            <a:ext cx="159608" cy="1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C9E31383-E790-48D3-AA50-4BFFD5583FAB}"/>
              </a:ext>
            </a:extLst>
          </p:cNvPr>
          <p:cNvSpPr txBox="1"/>
          <p:nvPr/>
        </p:nvSpPr>
        <p:spPr>
          <a:xfrm>
            <a:off x="7915644" y="1427141"/>
            <a:ext cx="625252" cy="5078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IT NA to implement USs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7" name="TextBox 44">
            <a:extLst>
              <a:ext uri="{FF2B5EF4-FFF2-40B4-BE49-F238E27FC236}">
                <a16:creationId xmlns:a16="http://schemas.microsoft.com/office/drawing/2014/main" id="{C45E9215-213C-4DFF-86F3-A7EB91758D5C}"/>
              </a:ext>
            </a:extLst>
          </p:cNvPr>
          <p:cNvSpPr txBox="1"/>
          <p:nvPr/>
        </p:nvSpPr>
        <p:spPr>
          <a:xfrm>
            <a:off x="7972895" y="2031906"/>
            <a:ext cx="547833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lose Request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18AAB635-97F4-4A09-808F-60F42811C3C4}"/>
              </a:ext>
            </a:extLst>
          </p:cNvPr>
          <p:cNvCxnSpPr>
            <a:cxnSpLocks/>
            <a:stCxn id="84" idx="2"/>
            <a:endCxn id="85" idx="0"/>
          </p:cNvCxnSpPr>
          <p:nvPr/>
        </p:nvCxnSpPr>
        <p:spPr>
          <a:xfrm flipH="1">
            <a:off x="7462319" y="1934972"/>
            <a:ext cx="765951" cy="601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51">
            <a:extLst>
              <a:ext uri="{FF2B5EF4-FFF2-40B4-BE49-F238E27FC236}">
                <a16:creationId xmlns:a16="http://schemas.microsoft.com/office/drawing/2014/main" id="{EAB4EA1F-2438-4BF8-B2D7-0E38D830EBC1}"/>
              </a:ext>
            </a:extLst>
          </p:cNvPr>
          <p:cNvSpPr/>
          <p:nvPr/>
        </p:nvSpPr>
        <p:spPr>
          <a:xfrm>
            <a:off x="5685651" y="2466525"/>
            <a:ext cx="124711" cy="12471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2B58B4B6-C522-4AC1-AE92-71F5F4CFF5AC}"/>
              </a:ext>
            </a:extLst>
          </p:cNvPr>
          <p:cNvSpPr txBox="1">
            <a:spLocks/>
          </p:cNvSpPr>
          <p:nvPr/>
        </p:nvSpPr>
        <p:spPr>
          <a:xfrm>
            <a:off x="5748006" y="2505074"/>
            <a:ext cx="529910" cy="95251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Columbus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2B0E343-FAD5-4A7F-B428-B8FF7B1F32CC}"/>
              </a:ext>
            </a:extLst>
          </p:cNvPr>
          <p:cNvSpPr/>
          <p:nvPr/>
        </p:nvSpPr>
        <p:spPr>
          <a:xfrm>
            <a:off x="6662426" y="2466530"/>
            <a:ext cx="124711" cy="12471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6D4A7AB-954E-4CB3-A424-5A654E9829D6}"/>
              </a:ext>
            </a:extLst>
          </p:cNvPr>
          <p:cNvSpPr txBox="1">
            <a:spLocks/>
          </p:cNvSpPr>
          <p:nvPr/>
        </p:nvSpPr>
        <p:spPr>
          <a:xfrm>
            <a:off x="6725205" y="2490442"/>
            <a:ext cx="565094" cy="8323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Lumen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2F1AE6-1DF1-4712-846D-3FA59B0D9A87}"/>
              </a:ext>
            </a:extLst>
          </p:cNvPr>
          <p:cNvSpPr txBox="1"/>
          <p:nvPr/>
        </p:nvSpPr>
        <p:spPr>
          <a:xfrm>
            <a:off x="6600790" y="1473114"/>
            <a:ext cx="537372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Prioritize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543BEBC-DEED-4A77-97DB-FE5EDB1006ED}"/>
              </a:ext>
            </a:extLst>
          </p:cNvPr>
          <p:cNvCxnSpPr>
            <a:cxnSpLocks/>
            <a:stCxn id="49" idx="3"/>
            <a:endCxn id="47" idx="1"/>
          </p:cNvCxnSpPr>
          <p:nvPr/>
        </p:nvCxnSpPr>
        <p:spPr>
          <a:xfrm>
            <a:off x="7138162" y="1673169"/>
            <a:ext cx="110943" cy="80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9DD3F04-C842-45A8-A4A1-507C69EFADF2}"/>
              </a:ext>
            </a:extLst>
          </p:cNvPr>
          <p:cNvSpPr txBox="1">
            <a:spLocks/>
          </p:cNvSpPr>
          <p:nvPr/>
        </p:nvSpPr>
        <p:spPr>
          <a:xfrm>
            <a:off x="212957" y="3000719"/>
            <a:ext cx="2989945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numCol="3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BRM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BAAS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TTUTT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Kenan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316B64C-1A57-4C65-A5A4-E3D40B34DBE0}"/>
              </a:ext>
            </a:extLst>
          </p:cNvPr>
          <p:cNvSpPr txBox="1"/>
          <p:nvPr/>
        </p:nvSpPr>
        <p:spPr>
          <a:xfrm>
            <a:off x="4681795" y="1465479"/>
            <a:ext cx="494373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Create Request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4D16EE3-809B-4E2D-9C6E-6F2CE7C68366}"/>
              </a:ext>
            </a:extLst>
          </p:cNvPr>
          <p:cNvCxnSpPr>
            <a:cxnSpLocks/>
            <a:endCxn id="43" idx="1"/>
          </p:cNvCxnSpPr>
          <p:nvPr/>
        </p:nvCxnSpPr>
        <p:spPr>
          <a:xfrm>
            <a:off x="5169818" y="1673228"/>
            <a:ext cx="139866" cy="6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9F1EDB9B-6DE0-4928-88A5-551B633BB91F}"/>
              </a:ext>
            </a:extLst>
          </p:cNvPr>
          <p:cNvSpPr/>
          <p:nvPr/>
        </p:nvSpPr>
        <p:spPr>
          <a:xfrm>
            <a:off x="7348226" y="2457005"/>
            <a:ext cx="124711" cy="124711"/>
          </a:xfrm>
          <a:prstGeom prst="ellipse">
            <a:avLst/>
          </a:prstGeom>
          <a:solidFill>
            <a:srgbClr val="E6E6E6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53696F6-59B2-46F0-B5FE-E528A05CCE18}"/>
              </a:ext>
            </a:extLst>
          </p:cNvPr>
          <p:cNvSpPr txBox="1">
            <a:spLocks/>
          </p:cNvSpPr>
          <p:nvPr/>
        </p:nvSpPr>
        <p:spPr>
          <a:xfrm>
            <a:off x="7409741" y="2470821"/>
            <a:ext cx="907639" cy="10010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Both 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29DDCB9-5141-44B3-A419-A244AB1D86BD}"/>
              </a:ext>
            </a:extLst>
          </p:cNvPr>
          <p:cNvCxnSpPr>
            <a:cxnSpLocks/>
            <a:stCxn id="44" idx="3"/>
            <a:endCxn id="49" idx="1"/>
          </p:cNvCxnSpPr>
          <p:nvPr/>
        </p:nvCxnSpPr>
        <p:spPr>
          <a:xfrm flipV="1">
            <a:off x="6496918" y="1673169"/>
            <a:ext cx="103872" cy="32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1DFBDE00-3889-4768-9F2E-C48DC0875F5F}"/>
              </a:ext>
            </a:extLst>
          </p:cNvPr>
          <p:cNvSpPr txBox="1"/>
          <p:nvPr/>
        </p:nvSpPr>
        <p:spPr>
          <a:xfrm>
            <a:off x="7193633" y="1995096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Test &amp; 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SignOff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DB20B90-48EB-4A4D-A6F9-9650F52DC745}"/>
              </a:ext>
            </a:extLst>
          </p:cNvPr>
          <p:cNvCxnSpPr>
            <a:cxnSpLocks/>
            <a:stCxn id="85" idx="3"/>
            <a:endCxn id="87" idx="1"/>
          </p:cNvCxnSpPr>
          <p:nvPr/>
        </p:nvCxnSpPr>
        <p:spPr>
          <a:xfrm flipV="1">
            <a:off x="7731005" y="2201183"/>
            <a:ext cx="241890" cy="16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83AB230A-2A1D-4A9C-8397-32EF2A5FC3FB}"/>
              </a:ext>
            </a:extLst>
          </p:cNvPr>
          <p:cNvSpPr txBox="1"/>
          <p:nvPr/>
        </p:nvSpPr>
        <p:spPr>
          <a:xfrm>
            <a:off x="5965790" y="93971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BOPs to provide BCM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1E83C8-4C1B-43E3-BC1E-694BC257BD05}"/>
              </a:ext>
            </a:extLst>
          </p:cNvPr>
          <p:cNvSpPr txBox="1"/>
          <p:nvPr/>
        </p:nvSpPr>
        <p:spPr>
          <a:xfrm>
            <a:off x="6600790" y="94606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s-AR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N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cy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to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8940FAC-B5A5-4781-99ED-C23C5455DCE3}"/>
              </a:ext>
            </a:extLst>
          </p:cNvPr>
          <p:cNvCxnSpPr>
            <a:cxnSpLocks/>
            <a:stCxn id="97" idx="3"/>
            <a:endCxn id="98" idx="1"/>
          </p:cNvCxnSpPr>
          <p:nvPr/>
        </p:nvCxnSpPr>
        <p:spPr>
          <a:xfrm>
            <a:off x="6503162" y="1147463"/>
            <a:ext cx="97628" cy="63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108F5C6-38BD-4677-9841-D44FFDB37744}"/>
              </a:ext>
            </a:extLst>
          </p:cNvPr>
          <p:cNvCxnSpPr>
            <a:cxnSpLocks/>
            <a:stCxn id="98" idx="2"/>
            <a:endCxn id="49" idx="0"/>
          </p:cNvCxnSpPr>
          <p:nvPr/>
        </p:nvCxnSpPr>
        <p:spPr>
          <a:xfrm>
            <a:off x="6869476" y="1361562"/>
            <a:ext cx="0" cy="1115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63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CA1C36-8945-4F11-AB2A-3EFEB66B88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CA1C36-8945-4F11-AB2A-3EFEB66B8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FA12F9C-D656-4078-89AD-E763E85B2B5F}"/>
              </a:ext>
            </a:extLst>
          </p:cNvPr>
          <p:cNvSpPr/>
          <p:nvPr/>
        </p:nvSpPr>
        <p:spPr>
          <a:xfrm>
            <a:off x="240323" y="635698"/>
            <a:ext cx="844647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High Level Process Description and Process Flow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AD3635-6B1E-4D90-B610-6361BEFB04EA}"/>
              </a:ext>
            </a:extLst>
          </p:cNvPr>
          <p:cNvSpPr txBox="1">
            <a:spLocks/>
          </p:cNvSpPr>
          <p:nvPr/>
        </p:nvSpPr>
        <p:spPr>
          <a:xfrm>
            <a:off x="3316271" y="3017524"/>
            <a:ext cx="2901766" cy="59825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defPPr>
              <a:defRPr lang="en-US"/>
            </a:defPPr>
            <a:lvl1pPr marL="171450" indent="-17145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b="0" i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olumbus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Pablo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Gavino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/Sebastian Field/Rodrigo Thion</a:t>
            </a:r>
          </a:p>
          <a:p>
            <a:pPr marL="117472" indent="-117472" defTabSz="665550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ResCo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Owner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: TBD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28B08-679C-495A-ABE7-BAE0FFA54EF0}"/>
              </a:ext>
            </a:extLst>
          </p:cNvPr>
          <p:cNvSpPr/>
          <p:nvPr/>
        </p:nvSpPr>
        <p:spPr>
          <a:xfrm>
            <a:off x="3316271" y="2777839"/>
            <a:ext cx="2901766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Roles &amp; Actors (Key Users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A8298CC-5E2E-4BAA-82D5-43D06129DD3C}"/>
              </a:ext>
            </a:extLst>
          </p:cNvPr>
          <p:cNvSpPr txBox="1">
            <a:spLocks/>
          </p:cNvSpPr>
          <p:nvPr/>
        </p:nvSpPr>
        <p:spPr>
          <a:xfrm>
            <a:off x="266447" y="2987373"/>
            <a:ext cx="3006971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FC0D4B-86C5-47BE-988B-FBF421817AF9}"/>
              </a:ext>
            </a:extLst>
          </p:cNvPr>
          <p:cNvSpPr/>
          <p:nvPr/>
        </p:nvSpPr>
        <p:spPr>
          <a:xfrm>
            <a:off x="266448" y="2773198"/>
            <a:ext cx="30069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ystems, Applications &amp; Tools Require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04297A-D14C-4107-BB0A-E75555FCC428}"/>
              </a:ext>
            </a:extLst>
          </p:cNvPr>
          <p:cNvSpPr txBox="1">
            <a:spLocks/>
          </p:cNvSpPr>
          <p:nvPr/>
        </p:nvSpPr>
        <p:spPr>
          <a:xfrm>
            <a:off x="240323" y="895498"/>
            <a:ext cx="8433415" cy="1765879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6504CF4-20F7-4B5D-ABF7-AF170C5E95F0}"/>
              </a:ext>
            </a:extLst>
          </p:cNvPr>
          <p:cNvSpPr txBox="1">
            <a:spLocks/>
          </p:cNvSpPr>
          <p:nvPr/>
        </p:nvSpPr>
        <p:spPr>
          <a:xfrm>
            <a:off x="262440" y="3818426"/>
            <a:ext cx="3006971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AR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his process will keep flowing in the same way as it was working before the Day One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900" b="1" dirty="0" err="1">
                <a:solidFill>
                  <a:srgbClr val="000000"/>
                </a:solidFill>
                <a:latin typeface="Arial" panose="020B0604020202020204"/>
                <a:cs typeface="+mn-cs"/>
              </a:rPr>
              <a:t>LatAm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 IT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and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  <a:cs typeface="+mn-cs"/>
              </a:rPr>
              <a:t>CFS Teams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 will keep having access to all the applications on Production and testing environments</a:t>
            </a:r>
          </a:p>
          <a:p>
            <a:pPr marL="117472" indent="-117472" defTabSz="665550">
              <a:lnSpc>
                <a:spcPct val="8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" panose="020B0604020202020204"/>
                <a:cs typeface="+mn-cs"/>
              </a:rPr>
              <a:t>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CPPEEB-Billing Product &amp; Tax – Kenan and BCD Teams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will keep supporting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900" dirty="0">
                <a:solidFill>
                  <a:srgbClr val="000000"/>
                </a:solidFill>
                <a:latin typeface="Arial" panose="020B0604020202020204"/>
              </a:rPr>
              <a:t> in case of Errors.	</a:t>
            </a:r>
            <a:endParaRPr lang="en-US" sz="9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AB17E9-0817-4B73-94C4-473BD3F41B69}"/>
              </a:ext>
            </a:extLst>
          </p:cNvPr>
          <p:cNvSpPr/>
          <p:nvPr/>
        </p:nvSpPr>
        <p:spPr>
          <a:xfrm>
            <a:off x="267790" y="3636117"/>
            <a:ext cx="3001621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Key Assumptions (Rules of Engagement)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8F965E4-C46B-40E5-934E-AACE00FCDF28}"/>
              </a:ext>
            </a:extLst>
          </p:cNvPr>
          <p:cNvSpPr txBox="1">
            <a:spLocks/>
          </p:cNvSpPr>
          <p:nvPr/>
        </p:nvSpPr>
        <p:spPr>
          <a:xfrm>
            <a:off x="3316271" y="3888801"/>
            <a:ext cx="2901766" cy="89871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/>
                <a:cs typeface="+mn-cs"/>
              </a:rPr>
              <a:t>CDN – BD+7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en-US" sz="9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/>
              <a:cs typeface="+mn-cs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CA8394-C619-4A15-A970-C0319C7A2F82}"/>
              </a:ext>
            </a:extLst>
          </p:cNvPr>
          <p:cNvSpPr/>
          <p:nvPr/>
        </p:nvSpPr>
        <p:spPr>
          <a:xfrm>
            <a:off x="3317966" y="3643848"/>
            <a:ext cx="2900070" cy="216878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ervice Targets &amp; Commitment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27B052-FFDA-4917-A229-F34C2748DFC6}"/>
              </a:ext>
            </a:extLst>
          </p:cNvPr>
          <p:cNvSpPr txBox="1">
            <a:spLocks/>
          </p:cNvSpPr>
          <p:nvPr/>
        </p:nvSpPr>
        <p:spPr>
          <a:xfrm>
            <a:off x="6277916" y="3009951"/>
            <a:ext cx="2408883" cy="177756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n case of any record with errors, the data is inserted in the tabl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EOP.Fcarga_Telefonia_log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from wher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send a report with the data extracted to a local factory via email to be analyzed and corrected in order to be billed in the current period.</a:t>
            </a:r>
            <a:endParaRPr lang="en-US" sz="80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If there would be any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Kenan error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, the </a:t>
            </a:r>
            <a:r>
              <a:rPr lang="en-US" sz="80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 IT support Team/CFS Team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will request support from th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/>
              </a:rPr>
              <a:t>NA Billing Support Team 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to set the usage charges as “no bill” and avoid billing errors during the </a:t>
            </a:r>
            <a:r>
              <a:rPr lang="en-US" sz="800" dirty="0" err="1">
                <a:solidFill>
                  <a:srgbClr val="000000"/>
                </a:solidFill>
                <a:latin typeface="Arial" panose="020B0604020202020204"/>
              </a:rPr>
              <a:t>currect</a:t>
            </a: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 bill cycle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Arial" panose="020B0604020202020204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</a:endParaRPr>
          </a:p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endParaRPr lang="en-US" sz="67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4DB131D-AA3B-49B2-8AF5-5467E2BD4242}"/>
              </a:ext>
            </a:extLst>
          </p:cNvPr>
          <p:cNvSpPr/>
          <p:nvPr/>
        </p:nvSpPr>
        <p:spPr>
          <a:xfrm>
            <a:off x="6277916" y="2773200"/>
            <a:ext cx="2408883" cy="216877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5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Escalation Path &amp; Error Handling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451850" y="249055"/>
          <a:ext cx="1577342" cy="3886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83836">
                  <a:extLst>
                    <a:ext uri="{9D8B030D-6E8A-4147-A177-3AD203B41FA5}">
                      <a16:colId xmlns:a16="http://schemas.microsoft.com/office/drawing/2014/main" val="2286335863"/>
                    </a:ext>
                  </a:extLst>
                </a:gridCol>
                <a:gridCol w="1093506">
                  <a:extLst>
                    <a:ext uri="{9D8B030D-6E8A-4147-A177-3AD203B41FA5}">
                      <a16:colId xmlns:a16="http://schemas.microsoft.com/office/drawing/2014/main" val="2738046577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wn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b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Lumen -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185252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r"/>
                      <a:r>
                        <a:rPr lang="en-US" sz="800" b="1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User: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dirty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Columbus SD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303084"/>
                  </a:ext>
                </a:extLst>
              </a:tr>
            </a:tbl>
          </a:graphicData>
        </a:graphic>
      </p:graphicFrame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E61AE93E-D4CB-432F-BDBA-64D231D2327C}"/>
              </a:ext>
            </a:extLst>
          </p:cNvPr>
          <p:cNvSpPr txBox="1">
            <a:spLocks/>
          </p:cNvSpPr>
          <p:nvPr/>
        </p:nvSpPr>
        <p:spPr>
          <a:xfrm>
            <a:off x="262440" y="4834494"/>
            <a:ext cx="397262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fld id="{16AF6406-B3F2-AD48-99A2-24C88CF40A2E}" type="slidenum">
              <a:rPr lang="en-US" sz="700">
                <a:solidFill>
                  <a:srgbClr val="EEEEEE">
                    <a:lumMod val="50000"/>
                  </a:srgbClr>
                </a:solidFill>
                <a:latin typeface="Arial" panose="020B0604020202020204"/>
              </a:rPr>
              <a:pPr defTabSz="457189"/>
              <a:t>9</a:t>
            </a:fld>
            <a:endParaRPr lang="en-US" sz="700">
              <a:solidFill>
                <a:srgbClr val="EEEEEE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EB8E24B-452C-487B-B03F-2D570E305C2D}"/>
              </a:ext>
            </a:extLst>
          </p:cNvPr>
          <p:cNvSpPr txBox="1">
            <a:spLocks/>
          </p:cNvSpPr>
          <p:nvPr/>
        </p:nvSpPr>
        <p:spPr>
          <a:xfrm>
            <a:off x="114807" y="267917"/>
            <a:ext cx="8571992" cy="33785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Billing IT Finance | </a:t>
            </a:r>
            <a:r>
              <a:rPr lang="es-AR" dirty="0" err="1"/>
              <a:t>Usage</a:t>
            </a:r>
            <a:r>
              <a:rPr lang="es-AR" dirty="0"/>
              <a:t> rating/delivery </a:t>
            </a:r>
            <a:r>
              <a:rPr lang="es-AR" dirty="0" err="1"/>
              <a:t>to</a:t>
            </a:r>
            <a:r>
              <a:rPr lang="es-AR" dirty="0"/>
              <a:t> Kenan – </a:t>
            </a:r>
            <a:r>
              <a:rPr lang="en-US" sz="1800" dirty="0"/>
              <a:t>CDN</a:t>
            </a:r>
          </a:p>
          <a:p>
            <a:pPr defTabSz="685783"/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EA9267-942B-4D68-9FA9-49087C4A5F12}"/>
              </a:ext>
            </a:extLst>
          </p:cNvPr>
          <p:cNvSpPr txBox="1"/>
          <p:nvPr/>
        </p:nvSpPr>
        <p:spPr>
          <a:xfrm>
            <a:off x="167602" y="864474"/>
            <a:ext cx="4418904" cy="1341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Telephony Product Owner will download the usages per service instance collected during the month and insert the data into RAW/LEXM-RAW/IRS Rating engines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LatAm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IT support Team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will extract the data from RAW/LEXM-RAW/IRS and the data is loaded into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A script will be executed to consume the usages stored in the table </a:t>
            </a:r>
            <a:r>
              <a:rPr lang="en-US" sz="780" b="1" dirty="0" err="1">
                <a:solidFill>
                  <a:srgbClr val="000000"/>
                </a:solidFill>
                <a:latin typeface="Arial" panose="020B0604020202020204"/>
              </a:rPr>
              <a:t>Fcarga_Telefonia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o be inserted into EOP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data extracted will be stored in the tabl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.L01_stagging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from where an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 file with all the charges collected to be bill in the current period will be generated.</a:t>
            </a: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Ones the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L01_File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is created (by the system) </a:t>
            </a: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EOP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insert the file into an FTP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b="1" dirty="0">
                <a:solidFill>
                  <a:srgbClr val="000000"/>
                </a:solidFill>
                <a:latin typeface="Arial" panose="020B0604020202020204"/>
              </a:rPr>
              <a:t>Kenan IDC </a:t>
            </a: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will consume the file directly from the FTP and load the usages to their corresponding BAN´s (based on the service instance that was used to collect the usages from RAW/LEXM-RAW/IRS)</a:t>
            </a:r>
            <a:endParaRPr lang="en-US" sz="780" b="1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65550">
              <a:lnSpc>
                <a:spcPct val="80000"/>
              </a:lnSpc>
              <a:buClr>
                <a:srgbClr val="0067B1"/>
              </a:buClr>
              <a:buFont typeface="Arial" panose="020B0604020202020204" pitchFamily="34" charset="0"/>
              <a:buChar char="•"/>
            </a:pPr>
            <a:r>
              <a:rPr lang="en-US" sz="780" dirty="0">
                <a:solidFill>
                  <a:srgbClr val="000000"/>
                </a:solidFill>
                <a:latin typeface="Arial" panose="020B0604020202020204"/>
              </a:rPr>
              <a:t>The BAN bill cycle will be executed, billing all the charges available (Cycle L08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8B09FF-15DE-4121-88AC-002562A3770E}"/>
              </a:ext>
            </a:extLst>
          </p:cNvPr>
          <p:cNvSpPr txBox="1"/>
          <p:nvPr/>
        </p:nvSpPr>
        <p:spPr>
          <a:xfrm>
            <a:off x="5309684" y="1481491"/>
            <a:ext cx="552075" cy="3847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IT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algn="ctr" defTabSz="685783"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alyze request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6EF044-CD87-4855-A490-CBEDE489C72F}"/>
              </a:ext>
            </a:extLst>
          </p:cNvPr>
          <p:cNvSpPr txBox="1"/>
          <p:nvPr/>
        </p:nvSpPr>
        <p:spPr>
          <a:xfrm>
            <a:off x="5959546" y="1468653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574EB00-C328-426F-9D2A-9A8430F76816}"/>
              </a:ext>
            </a:extLst>
          </p:cNvPr>
          <p:cNvSpPr txBox="1"/>
          <p:nvPr/>
        </p:nvSpPr>
        <p:spPr>
          <a:xfrm>
            <a:off x="7249105" y="1527349"/>
            <a:ext cx="506931" cy="307777"/>
          </a:xfrm>
          <a:prstGeom prst="rect">
            <a:avLst/>
          </a:prstGeom>
          <a:solidFill>
            <a:schemeClr val="bg2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PI Planning 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BD5247C1-3F50-4247-BDFA-87B979361AF5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>
            <a:off x="5861759" y="1673852"/>
            <a:ext cx="97787" cy="25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0103A53-BA7C-4376-AFA4-D975A1D18D79}"/>
              </a:ext>
            </a:extLst>
          </p:cNvPr>
          <p:cNvCxnSpPr>
            <a:cxnSpLocks/>
            <a:stCxn id="47" idx="3"/>
            <a:endCxn id="84" idx="1"/>
          </p:cNvCxnSpPr>
          <p:nvPr/>
        </p:nvCxnSpPr>
        <p:spPr>
          <a:xfrm flipV="1">
            <a:off x="7756036" y="1681057"/>
            <a:ext cx="159608" cy="1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C9E31383-E790-48D3-AA50-4BFFD5583FAB}"/>
              </a:ext>
            </a:extLst>
          </p:cNvPr>
          <p:cNvSpPr txBox="1"/>
          <p:nvPr/>
        </p:nvSpPr>
        <p:spPr>
          <a:xfrm>
            <a:off x="7915644" y="1427141"/>
            <a:ext cx="625252" cy="5078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IT NA to implement USs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7" name="TextBox 44">
            <a:extLst>
              <a:ext uri="{FF2B5EF4-FFF2-40B4-BE49-F238E27FC236}">
                <a16:creationId xmlns:a16="http://schemas.microsoft.com/office/drawing/2014/main" id="{C45E9215-213C-4DFF-86F3-A7EB91758D5C}"/>
              </a:ext>
            </a:extLst>
          </p:cNvPr>
          <p:cNvSpPr txBox="1"/>
          <p:nvPr/>
        </p:nvSpPr>
        <p:spPr>
          <a:xfrm>
            <a:off x="7972895" y="2031906"/>
            <a:ext cx="547833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lose Request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18AAB635-97F4-4A09-808F-60F42811C3C4}"/>
              </a:ext>
            </a:extLst>
          </p:cNvPr>
          <p:cNvCxnSpPr>
            <a:cxnSpLocks/>
            <a:stCxn id="84" idx="2"/>
            <a:endCxn id="85" idx="0"/>
          </p:cNvCxnSpPr>
          <p:nvPr/>
        </p:nvCxnSpPr>
        <p:spPr>
          <a:xfrm flipH="1">
            <a:off x="7462319" y="1934972"/>
            <a:ext cx="765951" cy="601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51">
            <a:extLst>
              <a:ext uri="{FF2B5EF4-FFF2-40B4-BE49-F238E27FC236}">
                <a16:creationId xmlns:a16="http://schemas.microsoft.com/office/drawing/2014/main" id="{EAB4EA1F-2438-4BF8-B2D7-0E38D830EBC1}"/>
              </a:ext>
            </a:extLst>
          </p:cNvPr>
          <p:cNvSpPr/>
          <p:nvPr/>
        </p:nvSpPr>
        <p:spPr>
          <a:xfrm>
            <a:off x="5685651" y="2466525"/>
            <a:ext cx="124711" cy="12471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2B58B4B6-C522-4AC1-AE92-71F5F4CFF5AC}"/>
              </a:ext>
            </a:extLst>
          </p:cNvPr>
          <p:cNvSpPr txBox="1">
            <a:spLocks/>
          </p:cNvSpPr>
          <p:nvPr/>
        </p:nvSpPr>
        <p:spPr>
          <a:xfrm>
            <a:off x="5748006" y="2505074"/>
            <a:ext cx="529910" cy="95251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Columbus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2B0E343-FAD5-4A7F-B428-B8FF7B1F32CC}"/>
              </a:ext>
            </a:extLst>
          </p:cNvPr>
          <p:cNvSpPr/>
          <p:nvPr/>
        </p:nvSpPr>
        <p:spPr>
          <a:xfrm>
            <a:off x="6662426" y="2466530"/>
            <a:ext cx="124711" cy="12471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6D4A7AB-954E-4CB3-A424-5A654E9829D6}"/>
              </a:ext>
            </a:extLst>
          </p:cNvPr>
          <p:cNvSpPr txBox="1">
            <a:spLocks/>
          </p:cNvSpPr>
          <p:nvPr/>
        </p:nvSpPr>
        <p:spPr>
          <a:xfrm>
            <a:off x="6725205" y="2490442"/>
            <a:ext cx="565094" cy="8323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Lumen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2F1AE6-1DF1-4712-846D-3FA59B0D9A87}"/>
              </a:ext>
            </a:extLst>
          </p:cNvPr>
          <p:cNvSpPr txBox="1"/>
          <p:nvPr/>
        </p:nvSpPr>
        <p:spPr>
          <a:xfrm>
            <a:off x="6600790" y="1473114"/>
            <a:ext cx="537372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Prioritize</a:t>
            </a:r>
          </a:p>
          <a:p>
            <a:pPr algn="ctr" defTabSz="685783">
              <a:defRPr/>
            </a:pP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543BEBC-DEED-4A77-97DB-FE5EDB1006ED}"/>
              </a:ext>
            </a:extLst>
          </p:cNvPr>
          <p:cNvCxnSpPr>
            <a:cxnSpLocks/>
            <a:stCxn id="49" idx="3"/>
            <a:endCxn id="47" idx="1"/>
          </p:cNvCxnSpPr>
          <p:nvPr/>
        </p:nvCxnSpPr>
        <p:spPr>
          <a:xfrm>
            <a:off x="7138162" y="1673169"/>
            <a:ext cx="110943" cy="80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9DD3F04-C842-45A8-A4A1-507C69EFADF2}"/>
              </a:ext>
            </a:extLst>
          </p:cNvPr>
          <p:cNvSpPr txBox="1">
            <a:spLocks/>
          </p:cNvSpPr>
          <p:nvPr/>
        </p:nvSpPr>
        <p:spPr>
          <a:xfrm>
            <a:off x="212957" y="3000719"/>
            <a:ext cx="2989945" cy="605822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numCol="3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CDN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Lavastorm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TTUTT</a:t>
            </a: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700" dirty="0">
                <a:solidFill>
                  <a:srgbClr val="000000"/>
                </a:solidFill>
                <a:latin typeface="Arial" panose="020B0604020202020204"/>
                <a:cs typeface="+mn-cs"/>
              </a:rPr>
              <a:t>Kenan</a:t>
            </a:r>
          </a:p>
          <a:p>
            <a:pPr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  <a:p>
            <a:pPr marL="117472" indent="-117472" defTabSz="665550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pt-BR" sz="70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316B64C-1A57-4C65-A5A4-E3D40B34DBE0}"/>
              </a:ext>
            </a:extLst>
          </p:cNvPr>
          <p:cNvSpPr txBox="1"/>
          <p:nvPr/>
        </p:nvSpPr>
        <p:spPr>
          <a:xfrm>
            <a:off x="4681795" y="1465479"/>
            <a:ext cx="494373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CFS to Create Request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4D16EE3-809B-4E2D-9C6E-6F2CE7C68366}"/>
              </a:ext>
            </a:extLst>
          </p:cNvPr>
          <p:cNvCxnSpPr>
            <a:cxnSpLocks/>
            <a:endCxn id="43" idx="1"/>
          </p:cNvCxnSpPr>
          <p:nvPr/>
        </p:nvCxnSpPr>
        <p:spPr>
          <a:xfrm>
            <a:off x="5169818" y="1673228"/>
            <a:ext cx="139866" cy="6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9F1EDB9B-6DE0-4928-88A5-551B633BB91F}"/>
              </a:ext>
            </a:extLst>
          </p:cNvPr>
          <p:cNvSpPr/>
          <p:nvPr/>
        </p:nvSpPr>
        <p:spPr>
          <a:xfrm>
            <a:off x="7348226" y="2457005"/>
            <a:ext cx="124711" cy="124711"/>
          </a:xfrm>
          <a:prstGeom prst="ellipse">
            <a:avLst/>
          </a:prstGeom>
          <a:solidFill>
            <a:srgbClr val="E6E6E6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53696F6-59B2-46F0-B5FE-E528A05CCE18}"/>
              </a:ext>
            </a:extLst>
          </p:cNvPr>
          <p:cNvSpPr txBox="1">
            <a:spLocks/>
          </p:cNvSpPr>
          <p:nvPr/>
        </p:nvSpPr>
        <p:spPr>
          <a:xfrm>
            <a:off x="7409741" y="2470821"/>
            <a:ext cx="907639" cy="10010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</a:rPr>
              <a:t>Both 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29DDCB9-5141-44B3-A419-A244AB1D86BD}"/>
              </a:ext>
            </a:extLst>
          </p:cNvPr>
          <p:cNvCxnSpPr>
            <a:cxnSpLocks/>
            <a:stCxn id="44" idx="3"/>
            <a:endCxn id="49" idx="1"/>
          </p:cNvCxnSpPr>
          <p:nvPr/>
        </p:nvCxnSpPr>
        <p:spPr>
          <a:xfrm flipV="1">
            <a:off x="6496918" y="1673169"/>
            <a:ext cx="103872" cy="32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1DFBDE00-3889-4768-9F2E-C48DC0875F5F}"/>
              </a:ext>
            </a:extLst>
          </p:cNvPr>
          <p:cNvSpPr txBox="1"/>
          <p:nvPr/>
        </p:nvSpPr>
        <p:spPr>
          <a:xfrm>
            <a:off x="7193633" y="1995096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Latam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IT: Test &amp; 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SignOff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DB20B90-48EB-4A4D-A6F9-9650F52DC745}"/>
              </a:ext>
            </a:extLst>
          </p:cNvPr>
          <p:cNvCxnSpPr>
            <a:cxnSpLocks/>
            <a:stCxn id="85" idx="3"/>
            <a:endCxn id="87" idx="1"/>
          </p:cNvCxnSpPr>
          <p:nvPr/>
        </p:nvCxnSpPr>
        <p:spPr>
          <a:xfrm flipV="1">
            <a:off x="7731005" y="2201183"/>
            <a:ext cx="241890" cy="16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83AB230A-2A1D-4A9C-8397-32EF2A5FC3FB}"/>
              </a:ext>
            </a:extLst>
          </p:cNvPr>
          <p:cNvSpPr txBox="1"/>
          <p:nvPr/>
        </p:nvSpPr>
        <p:spPr>
          <a:xfrm>
            <a:off x="5965790" y="93971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BOPs to provide BCM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301E83C8-4C1B-43E3-BC1E-694BC257BD05}"/>
              </a:ext>
            </a:extLst>
          </p:cNvPr>
          <p:cNvSpPr txBox="1"/>
          <p:nvPr/>
        </p:nvSpPr>
        <p:spPr>
          <a:xfrm>
            <a:off x="6600790" y="946064"/>
            <a:ext cx="537372" cy="4154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s-AR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N</a:t>
            </a:r>
            <a:r>
              <a:rPr lang="en-US" sz="700" dirty="0" err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ancy</a:t>
            </a:r>
            <a:r>
              <a:rPr lang="en-US" sz="700" dirty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 to Create US</a:t>
            </a:r>
            <a:endParaRPr lang="en-US" sz="600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8940FAC-B5A5-4781-99ED-C23C5455DCE3}"/>
              </a:ext>
            </a:extLst>
          </p:cNvPr>
          <p:cNvCxnSpPr>
            <a:cxnSpLocks/>
            <a:stCxn id="97" idx="3"/>
            <a:endCxn id="98" idx="1"/>
          </p:cNvCxnSpPr>
          <p:nvPr/>
        </p:nvCxnSpPr>
        <p:spPr>
          <a:xfrm>
            <a:off x="6503162" y="1147463"/>
            <a:ext cx="97628" cy="63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3108F5C6-38BD-4677-9841-D44FFDB37744}"/>
              </a:ext>
            </a:extLst>
          </p:cNvPr>
          <p:cNvCxnSpPr>
            <a:cxnSpLocks/>
            <a:stCxn id="98" idx="2"/>
            <a:endCxn id="49" idx="0"/>
          </p:cNvCxnSpPr>
          <p:nvPr/>
        </p:nvCxnSpPr>
        <p:spPr>
          <a:xfrm>
            <a:off x="6869476" y="1361562"/>
            <a:ext cx="0" cy="1115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864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ASTER" val="FTI US_Widescree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umen1">
      <a:dk1>
        <a:srgbClr val="000000"/>
      </a:dk1>
      <a:lt1>
        <a:srgbClr val="FFFFFF"/>
      </a:lt1>
      <a:dk2>
        <a:srgbClr val="0075C9"/>
      </a:dk2>
      <a:lt2>
        <a:srgbClr val="EEEEEE"/>
      </a:lt2>
      <a:accent1>
        <a:srgbClr val="38C6F3"/>
      </a:accent1>
      <a:accent2>
        <a:srgbClr val="0075C9"/>
      </a:accent2>
      <a:accent3>
        <a:srgbClr val="0C9ED9"/>
      </a:accent3>
      <a:accent4>
        <a:srgbClr val="FF9E18"/>
      </a:accent4>
      <a:accent5>
        <a:srgbClr val="083076"/>
      </a:accent5>
      <a:accent6>
        <a:srgbClr val="EE762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b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85E85793E16045B83AC39540D05D14" ma:contentTypeVersion="6" ma:contentTypeDescription="Create a new document." ma:contentTypeScope="" ma:versionID="25041547959b80966e337d3193d089c4">
  <xsd:schema xmlns:xsd="http://www.w3.org/2001/XMLSchema" xmlns:xs="http://www.w3.org/2001/XMLSchema" xmlns:p="http://schemas.microsoft.com/office/2006/metadata/properties" xmlns:ns2="5d8e03ff-1260-4a2f-86cb-8457cc5a806b" xmlns:ns3="e7aa1b74-73b2-41e4-91bb-2e0033bb1079" targetNamespace="http://schemas.microsoft.com/office/2006/metadata/properties" ma:root="true" ma:fieldsID="f558b8688f01d94ab52d19671237b2d8" ns2:_="" ns3:_="">
    <xsd:import namespace="5d8e03ff-1260-4a2f-86cb-8457cc5a806b"/>
    <xsd:import namespace="e7aa1b74-73b2-41e4-91bb-2e0033bb10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8e03ff-1260-4a2f-86cb-8457cc5a80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aa1b74-73b2-41e4-91bb-2e0033bb107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1E71173-F90F-45AF-9BC0-F9A2E31543F6}">
  <ds:schemaRefs>
    <ds:schemaRef ds:uri="f9623c71-265c-402d-80a2-0b143d18d92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6525485-DFD9-46D6-84BB-48048C0CFEE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5C3473-1AF1-4551-9ED7-18E2FFB141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8e03ff-1260-4a2f-86cb-8457cc5a806b"/>
    <ds:schemaRef ds:uri="e7aa1b74-73b2-41e4-91bb-2e0033bb10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20</TotalTime>
  <Words>3999</Words>
  <Application>Microsoft Office PowerPoint</Application>
  <PresentationFormat>On-screen Show (16:9)</PresentationFormat>
  <Paragraphs>409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Arial Black</vt:lpstr>
      <vt:lpstr>Calibri</vt:lpstr>
      <vt:lpstr>Monaco</vt:lpstr>
      <vt:lpstr>Roboto</vt:lpstr>
      <vt:lpstr>Roboto Light</vt:lpstr>
      <vt:lpstr>Roboto Thin</vt:lpstr>
      <vt:lpstr>STIXGeneral-Regular</vt:lpstr>
      <vt:lpstr>Wingdings</vt:lpstr>
      <vt:lpstr>Office Theme</vt:lpstr>
      <vt:lpstr>think-cell Slide</vt:lpstr>
      <vt:lpstr>IT Playbooks – Finance-Bill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here</dc:title>
  <dc:creator>Hendrickson, Brady</dc:creator>
  <cp:lastModifiedBy>Facundo Kogan</cp:lastModifiedBy>
  <cp:revision>21</cp:revision>
  <cp:lastPrinted>2021-09-28T16:03:47Z</cp:lastPrinted>
  <dcterms:created xsi:type="dcterms:W3CDTF">2020-04-29T18:01:14Z</dcterms:created>
  <dcterms:modified xsi:type="dcterms:W3CDTF">2021-11-04T12:4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85E85793E16045B83AC39540D05D14</vt:lpwstr>
  </property>
</Properties>
</file>